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</p:sldMasterIdLst>
  <p:notesMasterIdLst>
    <p:notesMasterId r:id="rId22"/>
  </p:notesMasterIdLst>
  <p:sldIdLst>
    <p:sldId id="256" r:id="rId2"/>
    <p:sldId id="587" r:id="rId3"/>
    <p:sldId id="588" r:id="rId4"/>
    <p:sldId id="387" r:id="rId5"/>
    <p:sldId id="356" r:id="rId6"/>
    <p:sldId id="639" r:id="rId7"/>
    <p:sldId id="640" r:id="rId8"/>
    <p:sldId id="339" r:id="rId9"/>
    <p:sldId id="637" r:id="rId10"/>
    <p:sldId id="638" r:id="rId11"/>
    <p:sldId id="360" r:id="rId12"/>
    <p:sldId id="388" r:id="rId13"/>
    <p:sldId id="389" r:id="rId14"/>
    <p:sldId id="390" r:id="rId15"/>
    <p:sldId id="359" r:id="rId16"/>
    <p:sldId id="583" r:id="rId17"/>
    <p:sldId id="357" r:id="rId18"/>
    <p:sldId id="586" r:id="rId19"/>
    <p:sldId id="347" r:id="rId20"/>
    <p:sldId id="345" r:id="rId21"/>
  </p:sldIdLst>
  <p:sldSz cx="12190413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5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81BD"/>
    <a:srgbClr val="F2F2F2"/>
    <a:srgbClr val="C4C4C4"/>
    <a:srgbClr val="1194DD"/>
    <a:srgbClr val="00AEEE"/>
    <a:srgbClr val="DBDBDB"/>
    <a:srgbClr val="0070C0"/>
    <a:srgbClr val="1033E0"/>
    <a:srgbClr val="274891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56" autoAdjust="0"/>
    <p:restoredTop sz="94322" autoAdjust="0"/>
  </p:normalViewPr>
  <p:slideViewPr>
    <p:cSldViewPr snapToObjects="1">
      <p:cViewPr varScale="1">
        <p:scale>
          <a:sx n="79" d="100"/>
          <a:sy n="79" d="100"/>
        </p:scale>
        <p:origin x="51" y="546"/>
      </p:cViewPr>
      <p:guideLst>
        <p:guide orient="horz" pos="2185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1FAED0-7D10-4239-9B56-C55805060B86}" type="datetimeFigureOut">
              <a:rPr lang="zh-CN" altLang="en-US" smtClean="0"/>
              <a:t>2024/2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147A23-5BA8-44CE-9215-79B767159C4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147A23-5BA8-44CE-9215-79B767159C41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047260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147A23-5BA8-44CE-9215-79B767159C41}" type="slidenum">
              <a:rPr lang="zh-CN" altLang="en-US" smtClean="0"/>
              <a:t>1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147A23-5BA8-44CE-9215-79B767159C41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760704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147A23-5BA8-44CE-9215-79B767159C41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569481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147A23-5BA8-44CE-9215-79B767159C41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07864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147A23-5BA8-44CE-9215-79B767159C41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571633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147A23-5BA8-44CE-9215-79B767159C41}" type="slidenum">
              <a:rPr lang="zh-CN" altLang="en-US" smtClean="0"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97486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147A23-5BA8-44CE-9215-79B767159C41}" type="slidenum">
              <a:rPr lang="zh-CN" altLang="en-US" smtClean="0"/>
              <a:t>1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147A23-5BA8-44CE-9215-79B767159C41}" type="slidenum">
              <a:rPr lang="zh-CN" altLang="en-US" smtClean="0"/>
              <a:t>2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147A23-5BA8-44CE-9215-79B767159C41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125554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147A23-5BA8-44CE-9215-79B767159C41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147A23-5BA8-44CE-9215-79B767159C41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123862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147A23-5BA8-44CE-9215-79B767159C41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17965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147A23-5BA8-44CE-9215-79B767159C41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289119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147A23-5BA8-44CE-9215-79B767159C41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89167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椭圆 1">
            <a:extLst>
              <a:ext uri="{FF2B5EF4-FFF2-40B4-BE49-F238E27FC236}">
                <a16:creationId xmlns:a16="http://schemas.microsoft.com/office/drawing/2014/main" id="{05B5A7EA-146C-4305-9439-2E099275C5F6}"/>
              </a:ext>
            </a:extLst>
          </p:cNvPr>
          <p:cNvSpPr/>
          <p:nvPr userDrawn="1"/>
        </p:nvSpPr>
        <p:spPr>
          <a:xfrm>
            <a:off x="190550" y="142981"/>
            <a:ext cx="1095479" cy="1137699"/>
          </a:xfrm>
          <a:prstGeom prst="ellipse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2000" t="2000" r="11000" b="18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22681973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直接连接符 18"/>
          <p:cNvCxnSpPr/>
          <p:nvPr userDrawn="1"/>
        </p:nvCxnSpPr>
        <p:spPr>
          <a:xfrm flipH="1">
            <a:off x="0" y="1052736"/>
            <a:ext cx="12190413" cy="0"/>
          </a:xfrm>
          <a:prstGeom prst="line">
            <a:avLst/>
          </a:prstGeom>
          <a:ln w="3810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文本框 1"/>
          <p:cNvSpPr txBox="1"/>
          <p:nvPr userDrawn="1"/>
        </p:nvSpPr>
        <p:spPr>
          <a:xfrm>
            <a:off x="10669905" y="715645"/>
            <a:ext cx="152019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solidFill>
                  <a:srgbClr val="0070C0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2024</a:t>
            </a:r>
            <a:r>
              <a:rPr lang="zh-CN" altLang="zh-CN" sz="1600" b="1" dirty="0">
                <a:solidFill>
                  <a:srgbClr val="0070C0"/>
                </a:solidFill>
                <a:latin typeface="黑体" panose="02010609060101010101" charset="-122"/>
                <a:ea typeface="黑体" panose="02010609060101010101" charset="-122"/>
                <a:cs typeface="黑体" panose="02010609060101010101" charset="-122"/>
              </a:rPr>
              <a:t>安升电子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09521" y="6356351"/>
            <a:ext cx="2844430" cy="365125"/>
          </a:xfrm>
          <a:prstGeom prst="rect">
            <a:avLst/>
          </a:prstGeom>
        </p:spPr>
        <p:txBody>
          <a:bodyPr/>
          <a:lstStyle/>
          <a:p>
            <a:fld id="{A61B1FD8-8752-40A4-8FD5-E89685AB56BD}" type="datetimeFigureOut">
              <a:rPr lang="zh-CN" altLang="en-US" smtClean="0"/>
              <a:t>2024/2/4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65058" y="6356351"/>
            <a:ext cx="3860297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36463" y="6356351"/>
            <a:ext cx="2844430" cy="365125"/>
          </a:xfrm>
          <a:prstGeom prst="rect">
            <a:avLst/>
          </a:prstGeom>
        </p:spPr>
        <p:txBody>
          <a:bodyPr/>
          <a:lstStyle/>
          <a:p>
            <a:fld id="{52DCD716-44A1-4A3E-9A48-2DB906ECEF8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39" y="116632"/>
            <a:ext cx="682975" cy="76421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49" r:id="rId2"/>
    <p:sldLayoutId id="2147483650" r:id="rId3"/>
    <p:sldLayoutId id="2147483651" r:id="rId4"/>
  </p:sldLayoutIdLst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image" Target="../media/image74.pn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12" Type="http://schemas.openxmlformats.org/officeDocument/2006/relationships/image" Target="../media/image73.png"/><Relationship Id="rId17" Type="http://schemas.openxmlformats.org/officeDocument/2006/relationships/image" Target="../media/image78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7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png"/><Relationship Id="rId11" Type="http://schemas.openxmlformats.org/officeDocument/2006/relationships/image" Target="../media/image72.png"/><Relationship Id="rId5" Type="http://schemas.openxmlformats.org/officeDocument/2006/relationships/image" Target="../media/image66.png"/><Relationship Id="rId15" Type="http://schemas.openxmlformats.org/officeDocument/2006/relationships/image" Target="../media/image76.png"/><Relationship Id="rId10" Type="http://schemas.openxmlformats.org/officeDocument/2006/relationships/image" Target="../media/image71.png"/><Relationship Id="rId4" Type="http://schemas.openxmlformats.org/officeDocument/2006/relationships/image" Target="../media/image65.png"/><Relationship Id="rId9" Type="http://schemas.openxmlformats.org/officeDocument/2006/relationships/image" Target="../media/image70.png"/><Relationship Id="rId14" Type="http://schemas.openxmlformats.org/officeDocument/2006/relationships/image" Target="../media/image7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13" Type="http://schemas.openxmlformats.org/officeDocument/2006/relationships/image" Target="../media/image89.png"/><Relationship Id="rId18" Type="http://schemas.openxmlformats.org/officeDocument/2006/relationships/image" Target="../media/image94.png"/><Relationship Id="rId3" Type="http://schemas.openxmlformats.org/officeDocument/2006/relationships/image" Target="../media/image79.jpeg"/><Relationship Id="rId7" Type="http://schemas.openxmlformats.org/officeDocument/2006/relationships/image" Target="../media/image83.png"/><Relationship Id="rId12" Type="http://schemas.openxmlformats.org/officeDocument/2006/relationships/image" Target="../media/image88.png"/><Relationship Id="rId17" Type="http://schemas.openxmlformats.org/officeDocument/2006/relationships/image" Target="../media/image93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92.png"/><Relationship Id="rId20" Type="http://schemas.openxmlformats.org/officeDocument/2006/relationships/image" Target="../media/image9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png"/><Relationship Id="rId11" Type="http://schemas.openxmlformats.org/officeDocument/2006/relationships/image" Target="../media/image87.png"/><Relationship Id="rId5" Type="http://schemas.openxmlformats.org/officeDocument/2006/relationships/image" Target="../media/image81.png"/><Relationship Id="rId15" Type="http://schemas.openxmlformats.org/officeDocument/2006/relationships/image" Target="../media/image91.png"/><Relationship Id="rId10" Type="http://schemas.openxmlformats.org/officeDocument/2006/relationships/image" Target="../media/image86.png"/><Relationship Id="rId19" Type="http://schemas.openxmlformats.org/officeDocument/2006/relationships/image" Target="../media/image95.png"/><Relationship Id="rId4" Type="http://schemas.openxmlformats.org/officeDocument/2006/relationships/image" Target="../media/image80.png"/><Relationship Id="rId9" Type="http://schemas.openxmlformats.org/officeDocument/2006/relationships/image" Target="../media/image85.png"/><Relationship Id="rId14" Type="http://schemas.openxmlformats.org/officeDocument/2006/relationships/image" Target="../media/image9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13" Type="http://schemas.openxmlformats.org/officeDocument/2006/relationships/image" Target="../media/image107.jpeg"/><Relationship Id="rId18" Type="http://schemas.openxmlformats.org/officeDocument/2006/relationships/image" Target="../media/image112.png"/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12" Type="http://schemas.openxmlformats.org/officeDocument/2006/relationships/image" Target="../media/image106.png"/><Relationship Id="rId17" Type="http://schemas.openxmlformats.org/officeDocument/2006/relationships/image" Target="../media/image111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110.png"/><Relationship Id="rId20" Type="http://schemas.openxmlformats.org/officeDocument/2006/relationships/image" Target="../media/image1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0.png"/><Relationship Id="rId11" Type="http://schemas.openxmlformats.org/officeDocument/2006/relationships/image" Target="../media/image105.png"/><Relationship Id="rId5" Type="http://schemas.openxmlformats.org/officeDocument/2006/relationships/image" Target="../media/image99.png"/><Relationship Id="rId15" Type="http://schemas.openxmlformats.org/officeDocument/2006/relationships/image" Target="../media/image109.png"/><Relationship Id="rId10" Type="http://schemas.openxmlformats.org/officeDocument/2006/relationships/image" Target="../media/image104.png"/><Relationship Id="rId19" Type="http://schemas.openxmlformats.org/officeDocument/2006/relationships/image" Target="../media/image113.png"/><Relationship Id="rId4" Type="http://schemas.openxmlformats.org/officeDocument/2006/relationships/image" Target="../media/image98.png"/><Relationship Id="rId9" Type="http://schemas.openxmlformats.org/officeDocument/2006/relationships/image" Target="../media/image103.png"/><Relationship Id="rId14" Type="http://schemas.openxmlformats.org/officeDocument/2006/relationships/image" Target="../media/image10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13" Type="http://schemas.openxmlformats.org/officeDocument/2006/relationships/image" Target="../media/image125.png"/><Relationship Id="rId18" Type="http://schemas.openxmlformats.org/officeDocument/2006/relationships/image" Target="../media/image130.png"/><Relationship Id="rId3" Type="http://schemas.openxmlformats.org/officeDocument/2006/relationships/image" Target="../media/image115.png"/><Relationship Id="rId7" Type="http://schemas.openxmlformats.org/officeDocument/2006/relationships/image" Target="../media/image119.png"/><Relationship Id="rId12" Type="http://schemas.openxmlformats.org/officeDocument/2006/relationships/image" Target="../media/image124.png"/><Relationship Id="rId17" Type="http://schemas.openxmlformats.org/officeDocument/2006/relationships/image" Target="../media/image129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128.png"/><Relationship Id="rId20" Type="http://schemas.openxmlformats.org/officeDocument/2006/relationships/image" Target="../media/image1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8.png"/><Relationship Id="rId11" Type="http://schemas.openxmlformats.org/officeDocument/2006/relationships/image" Target="../media/image123.png"/><Relationship Id="rId5" Type="http://schemas.openxmlformats.org/officeDocument/2006/relationships/image" Target="../media/image117.png"/><Relationship Id="rId15" Type="http://schemas.openxmlformats.org/officeDocument/2006/relationships/image" Target="../media/image127.jpeg"/><Relationship Id="rId10" Type="http://schemas.openxmlformats.org/officeDocument/2006/relationships/image" Target="../media/image122.png"/><Relationship Id="rId19" Type="http://schemas.openxmlformats.org/officeDocument/2006/relationships/image" Target="../media/image131.png"/><Relationship Id="rId4" Type="http://schemas.openxmlformats.org/officeDocument/2006/relationships/image" Target="../media/image116.png"/><Relationship Id="rId9" Type="http://schemas.openxmlformats.org/officeDocument/2006/relationships/image" Target="../media/image121.png"/><Relationship Id="rId14" Type="http://schemas.openxmlformats.org/officeDocument/2006/relationships/image" Target="../media/image1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jpeg"/><Relationship Id="rId3" Type="http://schemas.openxmlformats.org/officeDocument/2006/relationships/image" Target="../media/image134.jpeg"/><Relationship Id="rId7" Type="http://schemas.openxmlformats.org/officeDocument/2006/relationships/image" Target="../media/image138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7.jpeg"/><Relationship Id="rId5" Type="http://schemas.openxmlformats.org/officeDocument/2006/relationships/image" Target="../media/image136.jpeg"/><Relationship Id="rId4" Type="http://schemas.openxmlformats.org/officeDocument/2006/relationships/image" Target="../media/image135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nsonsz.com/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jilongtec.com/" TargetMode="External"/><Relationship Id="rId5" Type="http://schemas.openxmlformats.org/officeDocument/2006/relationships/image" Target="../media/image141.png"/><Relationship Id="rId4" Type="http://schemas.openxmlformats.org/officeDocument/2006/relationships/image" Target="../media/image14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19" Type="http://schemas.openxmlformats.org/officeDocument/2006/relationships/image" Target="../media/image23.pn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5" Type="http://schemas.openxmlformats.org/officeDocument/2006/relationships/image" Target="../media/image36.png"/><Relationship Id="rId10" Type="http://schemas.openxmlformats.org/officeDocument/2006/relationships/image" Target="../media/image31.png"/><Relationship Id="rId19" Type="http://schemas.openxmlformats.org/officeDocument/2006/relationships/image" Target="../media/image40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png"/><Relationship Id="rId18" Type="http://schemas.openxmlformats.org/officeDocument/2006/relationships/image" Target="../media/image58.png"/><Relationship Id="rId3" Type="http://schemas.openxmlformats.org/officeDocument/2006/relationships/image" Target="../media/image43.png"/><Relationship Id="rId21" Type="http://schemas.openxmlformats.org/officeDocument/2006/relationships/image" Target="../media/image61.png"/><Relationship Id="rId7" Type="http://schemas.openxmlformats.org/officeDocument/2006/relationships/image" Target="../media/image47.png"/><Relationship Id="rId12" Type="http://schemas.openxmlformats.org/officeDocument/2006/relationships/image" Target="../media/image52.png"/><Relationship Id="rId17" Type="http://schemas.openxmlformats.org/officeDocument/2006/relationships/image" Target="../media/image57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56.png"/><Relationship Id="rId20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png"/><Relationship Id="rId11" Type="http://schemas.openxmlformats.org/officeDocument/2006/relationships/image" Target="../media/image51.png"/><Relationship Id="rId5" Type="http://schemas.openxmlformats.org/officeDocument/2006/relationships/image" Target="../media/image45.png"/><Relationship Id="rId15" Type="http://schemas.openxmlformats.org/officeDocument/2006/relationships/image" Target="../media/image55.png"/><Relationship Id="rId23" Type="http://schemas.openxmlformats.org/officeDocument/2006/relationships/image" Target="../media/image63.png"/><Relationship Id="rId10" Type="http://schemas.openxmlformats.org/officeDocument/2006/relationships/image" Target="../media/image50.png"/><Relationship Id="rId19" Type="http://schemas.openxmlformats.org/officeDocument/2006/relationships/image" Target="../media/image59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Relationship Id="rId14" Type="http://schemas.openxmlformats.org/officeDocument/2006/relationships/image" Target="../media/image54.png"/><Relationship Id="rId22" Type="http://schemas.openxmlformats.org/officeDocument/2006/relationships/image" Target="../media/image6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7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347" imgH="348" progId="TCLayout.ActiveDocument.1">
                  <p:embed/>
                </p:oleObj>
              </mc:Choice>
              <mc:Fallback>
                <p:oleObj name="think-cell Slide" r:id="rId2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7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447"/>
            <a:ext cx="158729" cy="1587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A575B9F5-1E63-CE43-162D-9FF3481C0C78}"/>
              </a:ext>
            </a:extLst>
          </p:cNvPr>
          <p:cNvGrpSpPr/>
          <p:nvPr/>
        </p:nvGrpSpPr>
        <p:grpSpPr>
          <a:xfrm>
            <a:off x="1974929" y="2607786"/>
            <a:ext cx="8240553" cy="1642428"/>
            <a:chOff x="2206774" y="2492896"/>
            <a:chExt cx="8240553" cy="1642428"/>
          </a:xfrm>
        </p:grpSpPr>
        <p:grpSp>
          <p:nvGrpSpPr>
            <p:cNvPr id="5" name="组合 55">
              <a:extLst>
                <a:ext uri="{FF2B5EF4-FFF2-40B4-BE49-F238E27FC236}">
                  <a16:creationId xmlns:a16="http://schemas.microsoft.com/office/drawing/2014/main" id="{7B37EE8C-1E6D-58C8-76C3-6892C4A81A5B}"/>
                </a:ext>
              </a:extLst>
            </p:cNvPr>
            <p:cNvGrpSpPr/>
            <p:nvPr/>
          </p:nvGrpSpPr>
          <p:grpSpPr bwMode="auto">
            <a:xfrm>
              <a:off x="2206774" y="2492896"/>
              <a:ext cx="8240553" cy="1642428"/>
              <a:chOff x="3791205" y="5346440"/>
              <a:chExt cx="5833188" cy="1152159"/>
            </a:xfrm>
          </p:grpSpPr>
          <p:sp>
            <p:nvSpPr>
              <p:cNvPr id="7" name="圆角矩形 165">
                <a:extLst>
                  <a:ext uri="{FF2B5EF4-FFF2-40B4-BE49-F238E27FC236}">
                    <a16:creationId xmlns:a16="http://schemas.microsoft.com/office/drawing/2014/main" id="{1F8FC2F3-E43E-9801-6CD8-F76BB97E4765}"/>
                  </a:ext>
                </a:extLst>
              </p:cNvPr>
              <p:cNvSpPr/>
              <p:nvPr/>
            </p:nvSpPr>
            <p:spPr>
              <a:xfrm>
                <a:off x="4007769" y="5518708"/>
                <a:ext cx="5400600" cy="807659"/>
              </a:xfrm>
              <a:prstGeom prst="roundRect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accent1">
                      <a:lumMod val="40000"/>
                      <a:lumOff val="60000"/>
                    </a:schemeClr>
                  </a:gs>
                  <a:gs pos="54000">
                    <a:srgbClr val="00A9EB"/>
                  </a:gs>
                  <a:gs pos="100000">
                    <a:schemeClr val="accent1">
                      <a:lumMod val="6000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gradFill flip="none" rotWithShape="1">
                  <a:gsLst>
                    <a:gs pos="100000">
                      <a:schemeClr val="bg1"/>
                    </a:gs>
                    <a:gs pos="0">
                      <a:schemeClr val="bg1">
                        <a:lumMod val="75000"/>
                      </a:schemeClr>
                    </a:gs>
                  </a:gsLst>
                  <a:lin ang="27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 sz="1690" dirty="0">
                  <a:cs typeface="+mn-ea"/>
                  <a:sym typeface="+mn-lt"/>
                </a:endParaRPr>
              </a:p>
            </p:txBody>
          </p:sp>
          <p:sp>
            <p:nvSpPr>
              <p:cNvPr id="8" name="任意多边形 166">
                <a:extLst>
                  <a:ext uri="{FF2B5EF4-FFF2-40B4-BE49-F238E27FC236}">
                    <a16:creationId xmlns:a16="http://schemas.microsoft.com/office/drawing/2014/main" id="{4F1AF9AD-3251-2F5C-7D69-5815951E578F}"/>
                  </a:ext>
                </a:extLst>
              </p:cNvPr>
              <p:cNvSpPr/>
              <p:nvPr/>
            </p:nvSpPr>
            <p:spPr>
              <a:xfrm>
                <a:off x="3791205" y="5346440"/>
                <a:ext cx="5832649" cy="1152127"/>
              </a:xfrm>
              <a:custGeom>
                <a:avLst/>
                <a:gdLst>
                  <a:gd name="connsiteX0" fmla="*/ 619854 w 5832648"/>
                  <a:gd name="connsiteY0" fmla="*/ 172234 h 1152128"/>
                  <a:gd name="connsiteX1" fmla="*/ 247759 w 5832648"/>
                  <a:gd name="connsiteY1" fmla="*/ 418875 h 1152128"/>
                  <a:gd name="connsiteX2" fmla="*/ 216024 w 5832648"/>
                  <a:gd name="connsiteY2" fmla="*/ 576064 h 1152128"/>
                  <a:gd name="connsiteX3" fmla="*/ 216024 w 5832648"/>
                  <a:gd name="connsiteY3" fmla="*/ 576063 h 1152128"/>
                  <a:gd name="connsiteX4" fmla="*/ 216024 w 5832648"/>
                  <a:gd name="connsiteY4" fmla="*/ 576064 h 1152128"/>
                  <a:gd name="connsiteX5" fmla="*/ 216024 w 5832648"/>
                  <a:gd name="connsiteY5" fmla="*/ 576064 h 1152128"/>
                  <a:gd name="connsiteX6" fmla="*/ 247759 w 5832648"/>
                  <a:gd name="connsiteY6" fmla="*/ 733252 h 1152128"/>
                  <a:gd name="connsiteX7" fmla="*/ 619854 w 5832648"/>
                  <a:gd name="connsiteY7" fmla="*/ 979893 h 1152128"/>
                  <a:gd name="connsiteX8" fmla="*/ 5212794 w 5832648"/>
                  <a:gd name="connsiteY8" fmla="*/ 979894 h 1152128"/>
                  <a:gd name="connsiteX9" fmla="*/ 5616624 w 5832648"/>
                  <a:gd name="connsiteY9" fmla="*/ 576064 h 1152128"/>
                  <a:gd name="connsiteX10" fmla="*/ 5616625 w 5832648"/>
                  <a:gd name="connsiteY10" fmla="*/ 576064 h 1152128"/>
                  <a:gd name="connsiteX11" fmla="*/ 5212795 w 5832648"/>
                  <a:gd name="connsiteY11" fmla="*/ 172234 h 1152128"/>
                  <a:gd name="connsiteX12" fmla="*/ 576064 w 5832648"/>
                  <a:gd name="connsiteY12" fmla="*/ 0 h 1152128"/>
                  <a:gd name="connsiteX13" fmla="*/ 5256584 w 5832648"/>
                  <a:gd name="connsiteY13" fmla="*/ 0 h 1152128"/>
                  <a:gd name="connsiteX14" fmla="*/ 5832648 w 5832648"/>
                  <a:gd name="connsiteY14" fmla="*/ 576064 h 1152128"/>
                  <a:gd name="connsiteX15" fmla="*/ 5256584 w 5832648"/>
                  <a:gd name="connsiteY15" fmla="*/ 1152128 h 1152128"/>
                  <a:gd name="connsiteX16" fmla="*/ 576064 w 5832648"/>
                  <a:gd name="connsiteY16" fmla="*/ 1152128 h 1152128"/>
                  <a:gd name="connsiteX17" fmla="*/ 0 w 5832648"/>
                  <a:gd name="connsiteY17" fmla="*/ 576064 h 1152128"/>
                  <a:gd name="connsiteX18" fmla="*/ 576064 w 5832648"/>
                  <a:gd name="connsiteY18" fmla="*/ 0 h 1152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832648" h="1152128">
                    <a:moveTo>
                      <a:pt x="619854" y="172234"/>
                    </a:moveTo>
                    <a:cubicBezTo>
                      <a:pt x="452583" y="172234"/>
                      <a:pt x="309064" y="273935"/>
                      <a:pt x="247759" y="418875"/>
                    </a:cubicBezTo>
                    <a:lnTo>
                      <a:pt x="216024" y="576064"/>
                    </a:lnTo>
                    <a:lnTo>
                      <a:pt x="216024" y="576063"/>
                    </a:lnTo>
                    <a:lnTo>
                      <a:pt x="216024" y="576064"/>
                    </a:lnTo>
                    <a:lnTo>
                      <a:pt x="216024" y="576064"/>
                    </a:lnTo>
                    <a:lnTo>
                      <a:pt x="247759" y="733252"/>
                    </a:lnTo>
                    <a:cubicBezTo>
                      <a:pt x="309064" y="878193"/>
                      <a:pt x="452583" y="979893"/>
                      <a:pt x="619854" y="979893"/>
                    </a:cubicBezTo>
                    <a:lnTo>
                      <a:pt x="5212794" y="979894"/>
                    </a:lnTo>
                    <a:cubicBezTo>
                      <a:pt x="5435823" y="979894"/>
                      <a:pt x="5616624" y="799093"/>
                      <a:pt x="5616624" y="576064"/>
                    </a:cubicBezTo>
                    <a:lnTo>
                      <a:pt x="5616625" y="576064"/>
                    </a:lnTo>
                    <a:cubicBezTo>
                      <a:pt x="5616625" y="353035"/>
                      <a:pt x="5435824" y="172234"/>
                      <a:pt x="5212795" y="172234"/>
                    </a:cubicBezTo>
                    <a:close/>
                    <a:moveTo>
                      <a:pt x="576064" y="0"/>
                    </a:moveTo>
                    <a:lnTo>
                      <a:pt x="5256584" y="0"/>
                    </a:lnTo>
                    <a:cubicBezTo>
                      <a:pt x="5574735" y="0"/>
                      <a:pt x="5832648" y="257913"/>
                      <a:pt x="5832648" y="576064"/>
                    </a:cubicBezTo>
                    <a:cubicBezTo>
                      <a:pt x="5832648" y="894215"/>
                      <a:pt x="5574735" y="1152128"/>
                      <a:pt x="5256584" y="1152128"/>
                    </a:cubicBezTo>
                    <a:lnTo>
                      <a:pt x="576064" y="1152128"/>
                    </a:lnTo>
                    <a:cubicBezTo>
                      <a:pt x="257913" y="1152128"/>
                      <a:pt x="0" y="894215"/>
                      <a:pt x="0" y="576064"/>
                    </a:cubicBezTo>
                    <a:cubicBezTo>
                      <a:pt x="0" y="257913"/>
                      <a:pt x="257913" y="0"/>
                      <a:pt x="576064" y="0"/>
                    </a:cubicBezTo>
                    <a:close/>
                  </a:path>
                </a:pathLst>
              </a:custGeom>
              <a:solidFill>
                <a:srgbClr val="F3F3F3"/>
              </a:solidFill>
              <a:ln>
                <a:noFill/>
              </a:ln>
              <a:effectLst>
                <a:outerShdw blurRad="88900" dist="635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 sz="1690" dirty="0">
                  <a:cs typeface="+mn-ea"/>
                  <a:sym typeface="+mn-lt"/>
                </a:endParaRPr>
              </a:p>
            </p:txBody>
          </p:sp>
          <p:sp>
            <p:nvSpPr>
              <p:cNvPr id="9" name="圆角矩形 167">
                <a:extLst>
                  <a:ext uri="{FF2B5EF4-FFF2-40B4-BE49-F238E27FC236}">
                    <a16:creationId xmlns:a16="http://schemas.microsoft.com/office/drawing/2014/main" id="{B457E929-63FB-D102-C473-CEBEEB735F92}"/>
                  </a:ext>
                </a:extLst>
              </p:cNvPr>
              <p:cNvSpPr/>
              <p:nvPr/>
            </p:nvSpPr>
            <p:spPr>
              <a:xfrm>
                <a:off x="3791744" y="5346472"/>
                <a:ext cx="5832649" cy="1152127"/>
              </a:xfrm>
              <a:prstGeom prst="roundRect">
                <a:avLst>
                  <a:gd name="adj" fmla="val 50000"/>
                </a:avLst>
              </a:prstGeom>
              <a:noFill/>
              <a:ln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27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 sz="1690" dirty="0">
                  <a:cs typeface="+mn-ea"/>
                  <a:sym typeface="+mn-lt"/>
                </a:endParaRPr>
              </a:p>
            </p:txBody>
          </p:sp>
        </p:grp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DE1BAD98-CB00-BBC2-540D-A8D4149D6B73}"/>
                </a:ext>
              </a:extLst>
            </p:cNvPr>
            <p:cNvSpPr/>
            <p:nvPr/>
          </p:nvSpPr>
          <p:spPr>
            <a:xfrm>
              <a:off x="3111675" y="2960121"/>
              <a:ext cx="6543564" cy="70788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>
              <a:spAutoFit/>
            </a:bodyPr>
            <a:lstStyle/>
            <a:p>
              <a:r>
                <a:rPr lang="zh-CN" altLang="en-US" sz="40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+mn-lt"/>
                </a:rPr>
                <a:t>安升电子（深圳）有限公司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86385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文本框 1"/>
          <p:cNvSpPr>
            <a:spLocks noChangeArrowheads="1"/>
          </p:cNvSpPr>
          <p:nvPr/>
        </p:nvSpPr>
        <p:spPr bwMode="auto">
          <a:xfrm>
            <a:off x="4871070" y="404858"/>
            <a:ext cx="21666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6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代理品牌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84A45896-F3CE-14C0-E801-2F6473C3C792}"/>
              </a:ext>
            </a:extLst>
          </p:cNvPr>
          <p:cNvGrpSpPr/>
          <p:nvPr/>
        </p:nvGrpSpPr>
        <p:grpSpPr>
          <a:xfrm>
            <a:off x="334566" y="2235009"/>
            <a:ext cx="11382122" cy="3272154"/>
            <a:chOff x="334566" y="2235009"/>
            <a:chExt cx="11382122" cy="3272154"/>
          </a:xfrm>
        </p:grpSpPr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B0979951-11E7-AFF3-42D9-77247C3D6B66}"/>
                </a:ext>
              </a:extLst>
            </p:cNvPr>
            <p:cNvGrpSpPr/>
            <p:nvPr/>
          </p:nvGrpSpPr>
          <p:grpSpPr>
            <a:xfrm>
              <a:off x="334566" y="2971255"/>
              <a:ext cx="2311276" cy="1894866"/>
              <a:chOff x="956412" y="2626586"/>
              <a:chExt cx="2311577" cy="1895113"/>
            </a:xfrm>
          </p:grpSpPr>
          <p:sp>
            <p:nvSpPr>
              <p:cNvPr id="649" name="文本框 648">
                <a:extLst>
                  <a:ext uri="{FF2B5EF4-FFF2-40B4-BE49-F238E27FC236}">
                    <a16:creationId xmlns:a16="http://schemas.microsoft.com/office/drawing/2014/main" id="{01C0EFD8-384D-68AA-3D81-38E47299E14A}"/>
                  </a:ext>
                </a:extLst>
              </p:cNvPr>
              <p:cNvSpPr txBox="1"/>
              <p:nvPr/>
            </p:nvSpPr>
            <p:spPr>
              <a:xfrm>
                <a:off x="956412" y="2626586"/>
                <a:ext cx="1895112" cy="1895113"/>
              </a:xfrm>
              <a:prstGeom prst="roundRect">
                <a:avLst>
                  <a:gd name="adj" fmla="val 50000"/>
                </a:avLst>
              </a:prstGeom>
              <a:solidFill>
                <a:srgbClr val="1194DD"/>
              </a:solidFill>
              <a:ln w="38100">
                <a:noFill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algn="ctr">
                  <a:defRPr/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endParaRPr lang="en-US" altLang="zh-CN" dirty="0"/>
              </a:p>
            </p:txBody>
          </p:sp>
          <p:cxnSp>
            <p:nvCxnSpPr>
              <p:cNvPr id="650" name="直接箭头连接符 649">
                <a:extLst>
                  <a:ext uri="{FF2B5EF4-FFF2-40B4-BE49-F238E27FC236}">
                    <a16:creationId xmlns:a16="http://schemas.microsoft.com/office/drawing/2014/main" id="{C68936BF-5D93-BA0E-4806-D247CF830D3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851523" y="3574143"/>
                <a:ext cx="416466" cy="0"/>
              </a:xfrm>
              <a:prstGeom prst="straightConnector1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51" name="直接箭头连接符 450">
              <a:extLst>
                <a:ext uri="{FF2B5EF4-FFF2-40B4-BE49-F238E27FC236}">
                  <a16:creationId xmlns:a16="http://schemas.microsoft.com/office/drawing/2014/main" id="{30133EA5-8335-0C2D-79B0-A1FC0C4AFB95}"/>
                </a:ext>
              </a:extLst>
            </p:cNvPr>
            <p:cNvCxnSpPr>
              <a:cxnSpLocks/>
            </p:cNvCxnSpPr>
            <p:nvPr/>
          </p:nvCxnSpPr>
          <p:spPr>
            <a:xfrm>
              <a:off x="2645842" y="2564904"/>
              <a:ext cx="0" cy="2636651"/>
            </a:xfrm>
            <a:prstGeom prst="straightConnector1">
              <a:avLst/>
            </a:prstGeom>
            <a:ln w="12700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4" name="直接箭头连接符 643">
              <a:extLst>
                <a:ext uri="{FF2B5EF4-FFF2-40B4-BE49-F238E27FC236}">
                  <a16:creationId xmlns:a16="http://schemas.microsoft.com/office/drawing/2014/main" id="{D8DBBF8B-3D91-740F-79E3-8014853D864F}"/>
                </a:ext>
              </a:extLst>
            </p:cNvPr>
            <p:cNvCxnSpPr>
              <a:cxnSpLocks/>
              <a:stCxn id="648" idx="3"/>
            </p:cNvCxnSpPr>
            <p:nvPr/>
          </p:nvCxnSpPr>
          <p:spPr>
            <a:xfrm flipH="1">
              <a:off x="2645842" y="5182980"/>
              <a:ext cx="1793177" cy="18575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7" name="直接箭头连接符 646">
              <a:extLst>
                <a:ext uri="{FF2B5EF4-FFF2-40B4-BE49-F238E27FC236}">
                  <a16:creationId xmlns:a16="http://schemas.microsoft.com/office/drawing/2014/main" id="{AC8EEFAB-67CA-AA77-2FB0-3A4C25308232}"/>
                </a:ext>
              </a:extLst>
            </p:cNvPr>
            <p:cNvCxnSpPr>
              <a:cxnSpLocks/>
              <a:endCxn id="648" idx="3"/>
            </p:cNvCxnSpPr>
            <p:nvPr/>
          </p:nvCxnSpPr>
          <p:spPr>
            <a:xfrm flipH="1">
              <a:off x="4439019" y="5182979"/>
              <a:ext cx="1095331" cy="1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8" name="矩形: 圆角 647">
              <a:extLst>
                <a:ext uri="{FF2B5EF4-FFF2-40B4-BE49-F238E27FC236}">
                  <a16:creationId xmlns:a16="http://schemas.microsoft.com/office/drawing/2014/main" id="{EC76BE87-A23C-F33B-83FC-96A2C0D4D490}"/>
                </a:ext>
              </a:extLst>
            </p:cNvPr>
            <p:cNvSpPr/>
            <p:nvPr/>
          </p:nvSpPr>
          <p:spPr>
            <a:xfrm>
              <a:off x="3137127" y="4858796"/>
              <a:ext cx="1301892" cy="648367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6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MCU</a:t>
              </a:r>
            </a:p>
            <a:p>
              <a:pPr algn="ctr"/>
              <a:r>
                <a:rPr lang="zh-CN" altLang="en-US" sz="16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存储</a:t>
              </a:r>
              <a:endParaRPr lang="en-US" altLang="zh-CN" sz="16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cxnSp>
          <p:nvCxnSpPr>
            <p:cNvPr id="441" name="直接箭头连接符 440">
              <a:extLst>
                <a:ext uri="{FF2B5EF4-FFF2-40B4-BE49-F238E27FC236}">
                  <a16:creationId xmlns:a16="http://schemas.microsoft.com/office/drawing/2014/main" id="{D7531212-2EE8-49D3-C349-2FF2919F138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45842" y="4310288"/>
              <a:ext cx="865748" cy="0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2" name="直接箭头连接符 641">
              <a:extLst>
                <a:ext uri="{FF2B5EF4-FFF2-40B4-BE49-F238E27FC236}">
                  <a16:creationId xmlns:a16="http://schemas.microsoft.com/office/drawing/2014/main" id="{00F62A32-3CA9-3FF7-99B1-93B014A8FBA0}"/>
                </a:ext>
              </a:extLst>
            </p:cNvPr>
            <p:cNvCxnSpPr>
              <a:cxnSpLocks/>
              <a:endCxn id="643" idx="3"/>
            </p:cNvCxnSpPr>
            <p:nvPr/>
          </p:nvCxnSpPr>
          <p:spPr>
            <a:xfrm flipH="1">
              <a:off x="4439019" y="4310288"/>
              <a:ext cx="1095331" cy="1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3" name="矩形: 圆角 642">
              <a:extLst>
                <a:ext uri="{FF2B5EF4-FFF2-40B4-BE49-F238E27FC236}">
                  <a16:creationId xmlns:a16="http://schemas.microsoft.com/office/drawing/2014/main" id="{CDED810B-DE99-2F59-53C3-F21AFEFDF565}"/>
                </a:ext>
              </a:extLst>
            </p:cNvPr>
            <p:cNvSpPr/>
            <p:nvPr/>
          </p:nvSpPr>
          <p:spPr>
            <a:xfrm>
              <a:off x="3137127" y="3986105"/>
              <a:ext cx="1301892" cy="648367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6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电源</a:t>
              </a:r>
              <a:endParaRPr lang="en-US" altLang="zh-CN" sz="16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6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驱动</a:t>
              </a:r>
              <a:r>
                <a:rPr lang="en-US" altLang="zh-CN" sz="16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IC</a:t>
              </a:r>
            </a:p>
          </p:txBody>
        </p:sp>
        <p:cxnSp>
          <p:nvCxnSpPr>
            <p:cNvPr id="635" name="直接箭头连接符 634">
              <a:extLst>
                <a:ext uri="{FF2B5EF4-FFF2-40B4-BE49-F238E27FC236}">
                  <a16:creationId xmlns:a16="http://schemas.microsoft.com/office/drawing/2014/main" id="{7E417FCE-B9CE-9085-6430-10F992804835}"/>
                </a:ext>
              </a:extLst>
            </p:cNvPr>
            <p:cNvCxnSpPr>
              <a:cxnSpLocks/>
              <a:stCxn id="639" idx="3"/>
            </p:cNvCxnSpPr>
            <p:nvPr/>
          </p:nvCxnSpPr>
          <p:spPr>
            <a:xfrm flipH="1" flipV="1">
              <a:off x="2645842" y="3437596"/>
              <a:ext cx="1793177" cy="1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9" name="矩形: 圆角 638">
              <a:extLst>
                <a:ext uri="{FF2B5EF4-FFF2-40B4-BE49-F238E27FC236}">
                  <a16:creationId xmlns:a16="http://schemas.microsoft.com/office/drawing/2014/main" id="{CA9A8AB2-AD3C-DB73-8306-8342045C30F6}"/>
                </a:ext>
              </a:extLst>
            </p:cNvPr>
            <p:cNvSpPr/>
            <p:nvPr/>
          </p:nvSpPr>
          <p:spPr>
            <a:xfrm>
              <a:off x="3137127" y="3113413"/>
              <a:ext cx="1301892" cy="648367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6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MOS</a:t>
              </a:r>
            </a:p>
            <a:p>
              <a:pPr algn="ctr"/>
              <a:r>
                <a:rPr lang="en-US" altLang="zh-CN" sz="16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IGBT</a:t>
              </a:r>
            </a:p>
          </p:txBody>
        </p:sp>
        <p:cxnSp>
          <p:nvCxnSpPr>
            <p:cNvPr id="630" name="直接箭头连接符 629">
              <a:extLst>
                <a:ext uri="{FF2B5EF4-FFF2-40B4-BE49-F238E27FC236}">
                  <a16:creationId xmlns:a16="http://schemas.microsoft.com/office/drawing/2014/main" id="{CFD5F671-D05D-F7C1-3FF0-FE126264DC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45842" y="2564905"/>
              <a:ext cx="865748" cy="0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3" name="直接箭头连接符 632">
              <a:extLst>
                <a:ext uri="{FF2B5EF4-FFF2-40B4-BE49-F238E27FC236}">
                  <a16:creationId xmlns:a16="http://schemas.microsoft.com/office/drawing/2014/main" id="{C6A7CA0C-D872-126A-043A-C0DC109DDAF1}"/>
                </a:ext>
              </a:extLst>
            </p:cNvPr>
            <p:cNvCxnSpPr>
              <a:cxnSpLocks/>
              <a:stCxn id="632" idx="1"/>
              <a:endCxn id="634" idx="3"/>
            </p:cNvCxnSpPr>
            <p:nvPr/>
          </p:nvCxnSpPr>
          <p:spPr>
            <a:xfrm flipH="1">
              <a:off x="4439019" y="2559193"/>
              <a:ext cx="1100189" cy="5713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4" name="矩形: 圆角 633">
              <a:extLst>
                <a:ext uri="{FF2B5EF4-FFF2-40B4-BE49-F238E27FC236}">
                  <a16:creationId xmlns:a16="http://schemas.microsoft.com/office/drawing/2014/main" id="{75AD2059-4A37-4117-1370-9FD0D8E70D8C}"/>
                </a:ext>
              </a:extLst>
            </p:cNvPr>
            <p:cNvSpPr/>
            <p:nvPr/>
          </p:nvSpPr>
          <p:spPr>
            <a:xfrm>
              <a:off x="3137127" y="2240722"/>
              <a:ext cx="1301892" cy="648367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6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二三极管</a:t>
              </a:r>
              <a:endParaRPr lang="en-US" altLang="zh-CN" sz="16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651" name="文本框 650">
              <a:extLst>
                <a:ext uri="{FF2B5EF4-FFF2-40B4-BE49-F238E27FC236}">
                  <a16:creationId xmlns:a16="http://schemas.microsoft.com/office/drawing/2014/main" id="{76B3D254-1DA7-601F-E975-41E374670D80}"/>
                </a:ext>
              </a:extLst>
            </p:cNvPr>
            <p:cNvSpPr txBox="1"/>
            <p:nvPr/>
          </p:nvSpPr>
          <p:spPr>
            <a:xfrm>
              <a:off x="447275" y="3666365"/>
              <a:ext cx="166944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8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主动器件</a:t>
              </a:r>
            </a:p>
          </p:txBody>
        </p:sp>
        <p:cxnSp>
          <p:nvCxnSpPr>
            <p:cNvPr id="668" name="直接箭头连接符 667">
              <a:extLst>
                <a:ext uri="{FF2B5EF4-FFF2-40B4-BE49-F238E27FC236}">
                  <a16:creationId xmlns:a16="http://schemas.microsoft.com/office/drawing/2014/main" id="{24212D11-796F-3D00-0EB8-15B41308FE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39017" y="3456172"/>
              <a:ext cx="1095331" cy="1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80" name="组合 679">
              <a:extLst>
                <a:ext uri="{FF2B5EF4-FFF2-40B4-BE49-F238E27FC236}">
                  <a16:creationId xmlns:a16="http://schemas.microsoft.com/office/drawing/2014/main" id="{C6779D0D-927B-D495-35EF-405D9D365332}"/>
                </a:ext>
              </a:extLst>
            </p:cNvPr>
            <p:cNvGrpSpPr/>
            <p:nvPr/>
          </p:nvGrpSpPr>
          <p:grpSpPr>
            <a:xfrm>
              <a:off x="5539208" y="2235009"/>
              <a:ext cx="6177480" cy="648367"/>
              <a:chOff x="5534350" y="1412776"/>
              <a:chExt cx="6177480" cy="648367"/>
            </a:xfrm>
          </p:grpSpPr>
          <p:sp>
            <p:nvSpPr>
              <p:cNvPr id="632" name="矩形: 圆角 631">
                <a:extLst>
                  <a:ext uri="{FF2B5EF4-FFF2-40B4-BE49-F238E27FC236}">
                    <a16:creationId xmlns:a16="http://schemas.microsoft.com/office/drawing/2014/main" id="{4AE6DB09-A33A-9244-2307-075587C69A40}"/>
                  </a:ext>
                </a:extLst>
              </p:cNvPr>
              <p:cNvSpPr/>
              <p:nvPr/>
            </p:nvSpPr>
            <p:spPr>
              <a:xfrm>
                <a:off x="5534350" y="1412776"/>
                <a:ext cx="6177480" cy="648367"/>
              </a:xfrm>
              <a:prstGeom prst="roundRect">
                <a:avLst>
                  <a:gd name="adj" fmla="val 50000"/>
                </a:avLst>
              </a:prstGeom>
              <a:noFill/>
              <a:ln>
                <a:solidFill>
                  <a:srgbClr val="1194D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30000"/>
                  </a:lnSpc>
                </a:pPr>
                <a:r>
                  <a:rPr kumimoji="1" lang="en-US" altLang="zh-CN" sz="1000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 </a:t>
                </a:r>
              </a:p>
            </p:txBody>
          </p:sp>
          <p:pic>
            <p:nvPicPr>
              <p:cNvPr id="670" name="图片 669">
                <a:extLst>
                  <a:ext uri="{FF2B5EF4-FFF2-40B4-BE49-F238E27FC236}">
                    <a16:creationId xmlns:a16="http://schemas.microsoft.com/office/drawing/2014/main" id="{BB87DE15-33F8-A16F-03A8-866B7F10F8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787954" y="1490496"/>
                <a:ext cx="1176240" cy="441727"/>
              </a:xfrm>
              <a:prstGeom prst="rect">
                <a:avLst/>
              </a:prstGeom>
            </p:spPr>
          </p:pic>
          <p:pic>
            <p:nvPicPr>
              <p:cNvPr id="672" name="图片 671">
                <a:extLst>
                  <a:ext uri="{FF2B5EF4-FFF2-40B4-BE49-F238E27FC236}">
                    <a16:creationId xmlns:a16="http://schemas.microsoft.com/office/drawing/2014/main" id="{68B60C4E-9B2D-BBA1-D989-AD376C4676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650962" y="1554586"/>
                <a:ext cx="1266825" cy="381136"/>
              </a:xfrm>
              <a:prstGeom prst="rect">
                <a:avLst/>
              </a:prstGeom>
            </p:spPr>
          </p:pic>
          <p:pic>
            <p:nvPicPr>
              <p:cNvPr id="674" name="图片 673">
                <a:extLst>
                  <a:ext uri="{FF2B5EF4-FFF2-40B4-BE49-F238E27FC236}">
                    <a16:creationId xmlns:a16="http://schemas.microsoft.com/office/drawing/2014/main" id="{11745E15-A8B1-F4B4-E752-9C11F92090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314991" y="1577598"/>
                <a:ext cx="1104900" cy="318721"/>
              </a:xfrm>
              <a:prstGeom prst="rect">
                <a:avLst/>
              </a:prstGeom>
            </p:spPr>
          </p:pic>
          <p:pic>
            <p:nvPicPr>
              <p:cNvPr id="676" name="图片 675">
                <a:extLst>
                  <a:ext uri="{FF2B5EF4-FFF2-40B4-BE49-F238E27FC236}">
                    <a16:creationId xmlns:a16="http://schemas.microsoft.com/office/drawing/2014/main" id="{572FB902-07E1-5881-4940-D1CA226D09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0325456" y="1593727"/>
                <a:ext cx="1108361" cy="286468"/>
              </a:xfrm>
              <a:prstGeom prst="rect">
                <a:avLst/>
              </a:prstGeom>
            </p:spPr>
          </p:pic>
        </p:grpSp>
        <p:grpSp>
          <p:nvGrpSpPr>
            <p:cNvPr id="681" name="组合 680">
              <a:extLst>
                <a:ext uri="{FF2B5EF4-FFF2-40B4-BE49-F238E27FC236}">
                  <a16:creationId xmlns:a16="http://schemas.microsoft.com/office/drawing/2014/main" id="{E7EF89FE-BF83-1BB6-D4A6-88BE72605084}"/>
                </a:ext>
              </a:extLst>
            </p:cNvPr>
            <p:cNvGrpSpPr/>
            <p:nvPr/>
          </p:nvGrpSpPr>
          <p:grpSpPr>
            <a:xfrm>
              <a:off x="5539208" y="3113941"/>
              <a:ext cx="6177480" cy="648367"/>
              <a:chOff x="5534350" y="1412776"/>
              <a:chExt cx="6177480" cy="648367"/>
            </a:xfrm>
          </p:grpSpPr>
          <p:sp>
            <p:nvSpPr>
              <p:cNvPr id="682" name="矩形: 圆角 681">
                <a:extLst>
                  <a:ext uri="{FF2B5EF4-FFF2-40B4-BE49-F238E27FC236}">
                    <a16:creationId xmlns:a16="http://schemas.microsoft.com/office/drawing/2014/main" id="{D957407D-345C-21AB-77E5-3000EF580717}"/>
                  </a:ext>
                </a:extLst>
              </p:cNvPr>
              <p:cNvSpPr/>
              <p:nvPr/>
            </p:nvSpPr>
            <p:spPr>
              <a:xfrm>
                <a:off x="5534350" y="1412776"/>
                <a:ext cx="6177480" cy="648367"/>
              </a:xfrm>
              <a:prstGeom prst="roundRect">
                <a:avLst>
                  <a:gd name="adj" fmla="val 50000"/>
                </a:avLst>
              </a:prstGeom>
              <a:noFill/>
              <a:ln>
                <a:solidFill>
                  <a:srgbClr val="1194D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30000"/>
                  </a:lnSpc>
                </a:pPr>
                <a:r>
                  <a:rPr kumimoji="1" lang="en-US" altLang="zh-CN" sz="1000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 </a:t>
                </a:r>
              </a:p>
            </p:txBody>
          </p:sp>
          <p:pic>
            <p:nvPicPr>
              <p:cNvPr id="683" name="图片 682">
                <a:extLst>
                  <a:ext uri="{FF2B5EF4-FFF2-40B4-BE49-F238E27FC236}">
                    <a16:creationId xmlns:a16="http://schemas.microsoft.com/office/drawing/2014/main" id="{03351E1E-F1A5-FCB9-9D05-CD063FD797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787954" y="1599690"/>
                <a:ext cx="1181100" cy="337294"/>
              </a:xfrm>
              <a:prstGeom prst="rect">
                <a:avLst/>
              </a:prstGeom>
            </p:spPr>
          </p:pic>
          <p:pic>
            <p:nvPicPr>
              <p:cNvPr id="684" name="图片 683">
                <a:extLst>
                  <a:ext uri="{FF2B5EF4-FFF2-40B4-BE49-F238E27FC236}">
                    <a16:creationId xmlns:a16="http://schemas.microsoft.com/office/drawing/2014/main" id="{2163AF37-AF25-A418-1C07-78B55E560A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681830" y="1538086"/>
                <a:ext cx="1205088" cy="398897"/>
              </a:xfrm>
              <a:prstGeom prst="rect">
                <a:avLst/>
              </a:prstGeom>
            </p:spPr>
          </p:pic>
          <p:pic>
            <p:nvPicPr>
              <p:cNvPr id="685" name="图片 684">
                <a:extLst>
                  <a:ext uri="{FF2B5EF4-FFF2-40B4-BE49-F238E27FC236}">
                    <a16:creationId xmlns:a16="http://schemas.microsoft.com/office/drawing/2014/main" id="{ACFBC34D-B2EF-EBD6-4826-C78532F340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391389" y="1484931"/>
                <a:ext cx="952103" cy="504055"/>
              </a:xfrm>
              <a:prstGeom prst="rect">
                <a:avLst/>
              </a:prstGeom>
            </p:spPr>
          </p:pic>
          <p:pic>
            <p:nvPicPr>
              <p:cNvPr id="686" name="图片 685">
                <a:extLst>
                  <a:ext uri="{FF2B5EF4-FFF2-40B4-BE49-F238E27FC236}">
                    <a16:creationId xmlns:a16="http://schemas.microsoft.com/office/drawing/2014/main" id="{62FDFE27-D0B3-39C3-8257-F65CAEB80A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0333970" y="1484931"/>
                <a:ext cx="1091333" cy="452053"/>
              </a:xfrm>
              <a:prstGeom prst="rect">
                <a:avLst/>
              </a:prstGeom>
            </p:spPr>
          </p:pic>
        </p:grpSp>
        <p:grpSp>
          <p:nvGrpSpPr>
            <p:cNvPr id="687" name="组合 686">
              <a:extLst>
                <a:ext uri="{FF2B5EF4-FFF2-40B4-BE49-F238E27FC236}">
                  <a16:creationId xmlns:a16="http://schemas.microsoft.com/office/drawing/2014/main" id="{E5058770-8E14-95EB-743B-F51E6C5746CD}"/>
                </a:ext>
              </a:extLst>
            </p:cNvPr>
            <p:cNvGrpSpPr/>
            <p:nvPr/>
          </p:nvGrpSpPr>
          <p:grpSpPr>
            <a:xfrm>
              <a:off x="5534348" y="3986632"/>
              <a:ext cx="6177480" cy="648367"/>
              <a:chOff x="5534350" y="1412776"/>
              <a:chExt cx="6177480" cy="648367"/>
            </a:xfrm>
          </p:grpSpPr>
          <p:sp>
            <p:nvSpPr>
              <p:cNvPr id="688" name="矩形: 圆角 687">
                <a:extLst>
                  <a:ext uri="{FF2B5EF4-FFF2-40B4-BE49-F238E27FC236}">
                    <a16:creationId xmlns:a16="http://schemas.microsoft.com/office/drawing/2014/main" id="{029F4B60-8AEA-118F-DC15-083ABEEAB18B}"/>
                  </a:ext>
                </a:extLst>
              </p:cNvPr>
              <p:cNvSpPr/>
              <p:nvPr/>
            </p:nvSpPr>
            <p:spPr>
              <a:xfrm>
                <a:off x="5534350" y="1412776"/>
                <a:ext cx="6177480" cy="648367"/>
              </a:xfrm>
              <a:prstGeom prst="roundRect">
                <a:avLst>
                  <a:gd name="adj" fmla="val 50000"/>
                </a:avLst>
              </a:prstGeom>
              <a:noFill/>
              <a:ln>
                <a:solidFill>
                  <a:srgbClr val="1194D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30000"/>
                  </a:lnSpc>
                </a:pPr>
                <a:r>
                  <a:rPr kumimoji="1" lang="en-US" altLang="zh-CN" sz="1000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 </a:t>
                </a:r>
              </a:p>
            </p:txBody>
          </p:sp>
          <p:pic>
            <p:nvPicPr>
              <p:cNvPr id="689" name="图片 688">
                <a:extLst>
                  <a:ext uri="{FF2B5EF4-FFF2-40B4-BE49-F238E27FC236}">
                    <a16:creationId xmlns:a16="http://schemas.microsoft.com/office/drawing/2014/main" id="{37123E56-C1C1-5EAC-468C-7D334C7F1A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787954" y="1501658"/>
                <a:ext cx="1181100" cy="434800"/>
              </a:xfrm>
              <a:prstGeom prst="rect">
                <a:avLst/>
              </a:prstGeom>
            </p:spPr>
          </p:pic>
          <p:pic>
            <p:nvPicPr>
              <p:cNvPr id="690" name="图片 689">
                <a:extLst>
                  <a:ext uri="{FF2B5EF4-FFF2-40B4-BE49-F238E27FC236}">
                    <a16:creationId xmlns:a16="http://schemas.microsoft.com/office/drawing/2014/main" id="{7ABED8D2-EFC8-8EFA-7656-DA6C02CCFC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850301" y="1467065"/>
                <a:ext cx="1009135" cy="487303"/>
              </a:xfrm>
              <a:prstGeom prst="rect">
                <a:avLst/>
              </a:prstGeom>
            </p:spPr>
          </p:pic>
          <p:pic>
            <p:nvPicPr>
              <p:cNvPr id="691" name="图片 690">
                <a:extLst>
                  <a:ext uri="{FF2B5EF4-FFF2-40B4-BE49-F238E27FC236}">
                    <a16:creationId xmlns:a16="http://schemas.microsoft.com/office/drawing/2014/main" id="{C5F84957-12B7-7059-DADF-3BA33AB31D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319851" y="1519568"/>
                <a:ext cx="1104900" cy="434800"/>
              </a:xfrm>
              <a:prstGeom prst="rect">
                <a:avLst/>
              </a:prstGeom>
            </p:spPr>
          </p:pic>
          <p:pic>
            <p:nvPicPr>
              <p:cNvPr id="692" name="图片 691">
                <a:extLst>
                  <a:ext uri="{FF2B5EF4-FFF2-40B4-BE49-F238E27FC236}">
                    <a16:creationId xmlns:a16="http://schemas.microsoft.com/office/drawing/2014/main" id="{113975B5-AF5E-F7FA-4735-F0875C2220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0415689" y="1519567"/>
                <a:ext cx="953144" cy="395286"/>
              </a:xfrm>
              <a:prstGeom prst="rect">
                <a:avLst/>
              </a:prstGeom>
            </p:spPr>
          </p:pic>
        </p:grpSp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6C46CF57-DDFC-2A9F-2832-A2EACB4B706D}"/>
                </a:ext>
              </a:extLst>
            </p:cNvPr>
            <p:cNvGrpSpPr/>
            <p:nvPr/>
          </p:nvGrpSpPr>
          <p:grpSpPr>
            <a:xfrm>
              <a:off x="5539208" y="4858795"/>
              <a:ext cx="6177480" cy="648367"/>
              <a:chOff x="5539208" y="4030850"/>
              <a:chExt cx="6177480" cy="648367"/>
            </a:xfrm>
          </p:grpSpPr>
          <p:sp>
            <p:nvSpPr>
              <p:cNvPr id="694" name="矩形: 圆角 693">
                <a:extLst>
                  <a:ext uri="{FF2B5EF4-FFF2-40B4-BE49-F238E27FC236}">
                    <a16:creationId xmlns:a16="http://schemas.microsoft.com/office/drawing/2014/main" id="{24EC59DB-A77B-BC5F-52E2-A80729EEC95F}"/>
                  </a:ext>
                </a:extLst>
              </p:cNvPr>
              <p:cNvSpPr/>
              <p:nvPr/>
            </p:nvSpPr>
            <p:spPr>
              <a:xfrm>
                <a:off x="5539208" y="4030850"/>
                <a:ext cx="6177480" cy="648367"/>
              </a:xfrm>
              <a:prstGeom prst="roundRect">
                <a:avLst>
                  <a:gd name="adj" fmla="val 50000"/>
                </a:avLst>
              </a:prstGeom>
              <a:noFill/>
              <a:ln>
                <a:solidFill>
                  <a:srgbClr val="1194D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30000"/>
                  </a:lnSpc>
                </a:pPr>
                <a:r>
                  <a:rPr kumimoji="1" lang="en-US" altLang="zh-CN" sz="1000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 </a:t>
                </a:r>
              </a:p>
            </p:txBody>
          </p:sp>
          <p:pic>
            <p:nvPicPr>
              <p:cNvPr id="695" name="图片 694">
                <a:extLst>
                  <a:ext uri="{FF2B5EF4-FFF2-40B4-BE49-F238E27FC236}">
                    <a16:creationId xmlns:a16="http://schemas.microsoft.com/office/drawing/2014/main" id="{CAFB0885-41CB-5820-519A-A27B26085C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866310" y="4155008"/>
                <a:ext cx="947506" cy="414754"/>
              </a:xfrm>
              <a:prstGeom prst="rect">
                <a:avLst/>
              </a:prstGeom>
            </p:spPr>
          </p:pic>
          <p:pic>
            <p:nvPicPr>
              <p:cNvPr id="697" name="图片 696">
                <a:extLst>
                  <a:ext uri="{FF2B5EF4-FFF2-40B4-BE49-F238E27FC236}">
                    <a16:creationId xmlns:a16="http://schemas.microsoft.com/office/drawing/2014/main" id="{C7216BCB-C158-C484-C7E5-5139E0DA14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296940" y="4155008"/>
                <a:ext cx="1104900" cy="414754"/>
              </a:xfrm>
              <a:prstGeom prst="rect">
                <a:avLst/>
              </a:prstGeom>
            </p:spPr>
          </p:pic>
          <p:pic>
            <p:nvPicPr>
              <p:cNvPr id="4" name="图片 3">
                <a:extLst>
                  <a:ext uri="{FF2B5EF4-FFF2-40B4-BE49-F238E27FC236}">
                    <a16:creationId xmlns:a16="http://schemas.microsoft.com/office/drawing/2014/main" id="{29D6AB9B-F97A-766B-5E70-FFFF224531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884964" y="4155009"/>
                <a:ext cx="1001959" cy="414753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955334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95"/>
          <p:cNvGrpSpPr/>
          <p:nvPr/>
        </p:nvGrpSpPr>
        <p:grpSpPr>
          <a:xfrm>
            <a:off x="349008" y="1125601"/>
            <a:ext cx="6893417" cy="5131429"/>
            <a:chOff x="576263" y="1847850"/>
            <a:chExt cx="4783137" cy="3810794"/>
          </a:xfrm>
        </p:grpSpPr>
        <p:sp>
          <p:nvSpPr>
            <p:cNvPr id="97" name="Freeform 5"/>
            <p:cNvSpPr/>
            <p:nvPr/>
          </p:nvSpPr>
          <p:spPr bwMode="auto">
            <a:xfrm>
              <a:off x="3430733" y="5437981"/>
              <a:ext cx="263525" cy="220663"/>
            </a:xfrm>
            <a:custGeom>
              <a:avLst/>
              <a:gdLst>
                <a:gd name="T0" fmla="*/ 48 w 177"/>
                <a:gd name="T1" fmla="*/ 16 h 161"/>
                <a:gd name="T2" fmla="*/ 64 w 177"/>
                <a:gd name="T3" fmla="*/ 16 h 161"/>
                <a:gd name="T4" fmla="*/ 80 w 177"/>
                <a:gd name="T5" fmla="*/ 8 h 161"/>
                <a:gd name="T6" fmla="*/ 96 w 177"/>
                <a:gd name="T7" fmla="*/ 16 h 161"/>
                <a:gd name="T8" fmla="*/ 120 w 177"/>
                <a:gd name="T9" fmla="*/ 0 h 161"/>
                <a:gd name="T10" fmla="*/ 152 w 177"/>
                <a:gd name="T11" fmla="*/ 8 h 161"/>
                <a:gd name="T12" fmla="*/ 168 w 177"/>
                <a:gd name="T13" fmla="*/ 0 h 161"/>
                <a:gd name="T14" fmla="*/ 176 w 177"/>
                <a:gd name="T15" fmla="*/ 32 h 161"/>
                <a:gd name="T16" fmla="*/ 152 w 177"/>
                <a:gd name="T17" fmla="*/ 48 h 161"/>
                <a:gd name="T18" fmla="*/ 144 w 177"/>
                <a:gd name="T19" fmla="*/ 104 h 161"/>
                <a:gd name="T20" fmla="*/ 128 w 177"/>
                <a:gd name="T21" fmla="*/ 120 h 161"/>
                <a:gd name="T22" fmla="*/ 128 w 177"/>
                <a:gd name="T23" fmla="*/ 144 h 161"/>
                <a:gd name="T24" fmla="*/ 104 w 177"/>
                <a:gd name="T25" fmla="*/ 136 h 161"/>
                <a:gd name="T26" fmla="*/ 96 w 177"/>
                <a:gd name="T27" fmla="*/ 144 h 161"/>
                <a:gd name="T28" fmla="*/ 96 w 177"/>
                <a:gd name="T29" fmla="*/ 160 h 161"/>
                <a:gd name="T30" fmla="*/ 80 w 177"/>
                <a:gd name="T31" fmla="*/ 160 h 161"/>
                <a:gd name="T32" fmla="*/ 48 w 177"/>
                <a:gd name="T33" fmla="*/ 144 h 161"/>
                <a:gd name="T34" fmla="*/ 8 w 177"/>
                <a:gd name="T35" fmla="*/ 136 h 161"/>
                <a:gd name="T36" fmla="*/ 0 w 177"/>
                <a:gd name="T37" fmla="*/ 88 h 161"/>
                <a:gd name="T38" fmla="*/ 0 w 177"/>
                <a:gd name="T39" fmla="*/ 64 h 161"/>
                <a:gd name="T40" fmla="*/ 40 w 177"/>
                <a:gd name="T41" fmla="*/ 32 h 161"/>
                <a:gd name="T42" fmla="*/ 48 w 177"/>
                <a:gd name="T43" fmla="*/ 16 h 161"/>
                <a:gd name="T44" fmla="*/ 0 w 177"/>
                <a:gd name="T45" fmla="*/ 0 h 161"/>
                <a:gd name="T46" fmla="*/ 177 w 177"/>
                <a:gd name="T47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T44" t="T45" r="T46" b="T47"/>
              <a:pathLst>
                <a:path w="177" h="161">
                  <a:moveTo>
                    <a:pt x="48" y="16"/>
                  </a:moveTo>
                  <a:lnTo>
                    <a:pt x="64" y="16"/>
                  </a:lnTo>
                  <a:lnTo>
                    <a:pt x="80" y="8"/>
                  </a:lnTo>
                  <a:lnTo>
                    <a:pt x="96" y="16"/>
                  </a:lnTo>
                  <a:lnTo>
                    <a:pt x="120" y="0"/>
                  </a:lnTo>
                  <a:lnTo>
                    <a:pt x="152" y="8"/>
                  </a:lnTo>
                  <a:lnTo>
                    <a:pt x="168" y="0"/>
                  </a:lnTo>
                  <a:lnTo>
                    <a:pt x="176" y="32"/>
                  </a:lnTo>
                  <a:lnTo>
                    <a:pt x="152" y="48"/>
                  </a:lnTo>
                  <a:lnTo>
                    <a:pt x="144" y="104"/>
                  </a:lnTo>
                  <a:lnTo>
                    <a:pt x="128" y="120"/>
                  </a:lnTo>
                  <a:lnTo>
                    <a:pt x="128" y="144"/>
                  </a:lnTo>
                  <a:lnTo>
                    <a:pt x="104" y="136"/>
                  </a:lnTo>
                  <a:lnTo>
                    <a:pt x="96" y="144"/>
                  </a:lnTo>
                  <a:lnTo>
                    <a:pt x="96" y="160"/>
                  </a:lnTo>
                  <a:lnTo>
                    <a:pt x="80" y="160"/>
                  </a:lnTo>
                  <a:lnTo>
                    <a:pt x="48" y="144"/>
                  </a:lnTo>
                  <a:lnTo>
                    <a:pt x="8" y="136"/>
                  </a:lnTo>
                  <a:lnTo>
                    <a:pt x="0" y="88"/>
                  </a:lnTo>
                  <a:lnTo>
                    <a:pt x="0" y="64"/>
                  </a:lnTo>
                  <a:lnTo>
                    <a:pt x="40" y="32"/>
                  </a:lnTo>
                  <a:lnTo>
                    <a:pt x="48" y="16"/>
                  </a:ln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98" name="Freeform 7"/>
            <p:cNvSpPr/>
            <p:nvPr/>
          </p:nvSpPr>
          <p:spPr bwMode="auto">
            <a:xfrm>
              <a:off x="4310063" y="1847850"/>
              <a:ext cx="1049337" cy="958850"/>
            </a:xfrm>
            <a:custGeom>
              <a:avLst/>
              <a:gdLst>
                <a:gd name="T0" fmla="*/ 16 w 705"/>
                <a:gd name="T1" fmla="*/ 64 h 697"/>
                <a:gd name="T2" fmla="*/ 32 w 705"/>
                <a:gd name="T3" fmla="*/ 104 h 697"/>
                <a:gd name="T4" fmla="*/ 72 w 705"/>
                <a:gd name="T5" fmla="*/ 104 h 697"/>
                <a:gd name="T6" fmla="*/ 104 w 705"/>
                <a:gd name="T7" fmla="*/ 176 h 697"/>
                <a:gd name="T8" fmla="*/ 160 w 705"/>
                <a:gd name="T9" fmla="*/ 160 h 697"/>
                <a:gd name="T10" fmla="*/ 232 w 705"/>
                <a:gd name="T11" fmla="*/ 168 h 697"/>
                <a:gd name="T12" fmla="*/ 216 w 705"/>
                <a:gd name="T13" fmla="*/ 312 h 697"/>
                <a:gd name="T14" fmla="*/ 192 w 705"/>
                <a:gd name="T15" fmla="*/ 392 h 697"/>
                <a:gd name="T16" fmla="*/ 104 w 705"/>
                <a:gd name="T17" fmla="*/ 464 h 697"/>
                <a:gd name="T18" fmla="*/ 152 w 705"/>
                <a:gd name="T19" fmla="*/ 488 h 697"/>
                <a:gd name="T20" fmla="*/ 136 w 705"/>
                <a:gd name="T21" fmla="*/ 520 h 697"/>
                <a:gd name="T22" fmla="*/ 176 w 705"/>
                <a:gd name="T23" fmla="*/ 544 h 697"/>
                <a:gd name="T24" fmla="*/ 192 w 705"/>
                <a:gd name="T25" fmla="*/ 576 h 697"/>
                <a:gd name="T26" fmla="*/ 288 w 705"/>
                <a:gd name="T27" fmla="*/ 584 h 697"/>
                <a:gd name="T28" fmla="*/ 320 w 705"/>
                <a:gd name="T29" fmla="*/ 592 h 697"/>
                <a:gd name="T30" fmla="*/ 384 w 705"/>
                <a:gd name="T31" fmla="*/ 640 h 697"/>
                <a:gd name="T32" fmla="*/ 424 w 705"/>
                <a:gd name="T33" fmla="*/ 664 h 697"/>
                <a:gd name="T34" fmla="*/ 432 w 705"/>
                <a:gd name="T35" fmla="*/ 624 h 697"/>
                <a:gd name="T36" fmla="*/ 480 w 705"/>
                <a:gd name="T37" fmla="*/ 696 h 697"/>
                <a:gd name="T38" fmla="*/ 496 w 705"/>
                <a:gd name="T39" fmla="*/ 680 h 697"/>
                <a:gd name="T40" fmla="*/ 552 w 705"/>
                <a:gd name="T41" fmla="*/ 680 h 697"/>
                <a:gd name="T42" fmla="*/ 592 w 705"/>
                <a:gd name="T43" fmla="*/ 632 h 697"/>
                <a:gd name="T44" fmla="*/ 600 w 705"/>
                <a:gd name="T45" fmla="*/ 528 h 697"/>
                <a:gd name="T46" fmla="*/ 664 w 705"/>
                <a:gd name="T47" fmla="*/ 536 h 697"/>
                <a:gd name="T48" fmla="*/ 680 w 705"/>
                <a:gd name="T49" fmla="*/ 344 h 697"/>
                <a:gd name="T50" fmla="*/ 696 w 705"/>
                <a:gd name="T51" fmla="*/ 296 h 697"/>
                <a:gd name="T52" fmla="*/ 704 w 705"/>
                <a:gd name="T53" fmla="*/ 256 h 697"/>
                <a:gd name="T54" fmla="*/ 608 w 705"/>
                <a:gd name="T55" fmla="*/ 320 h 697"/>
                <a:gd name="T56" fmla="*/ 560 w 705"/>
                <a:gd name="T57" fmla="*/ 360 h 697"/>
                <a:gd name="T58" fmla="*/ 488 w 705"/>
                <a:gd name="T59" fmla="*/ 304 h 697"/>
                <a:gd name="T60" fmla="*/ 440 w 705"/>
                <a:gd name="T61" fmla="*/ 280 h 697"/>
                <a:gd name="T62" fmla="*/ 376 w 705"/>
                <a:gd name="T63" fmla="*/ 256 h 697"/>
                <a:gd name="T64" fmla="*/ 360 w 705"/>
                <a:gd name="T65" fmla="*/ 240 h 697"/>
                <a:gd name="T66" fmla="*/ 336 w 705"/>
                <a:gd name="T67" fmla="*/ 248 h 697"/>
                <a:gd name="T68" fmla="*/ 264 w 705"/>
                <a:gd name="T69" fmla="*/ 128 h 697"/>
                <a:gd name="T70" fmla="*/ 248 w 705"/>
                <a:gd name="T71" fmla="*/ 88 h 697"/>
                <a:gd name="T72" fmla="*/ 144 w 705"/>
                <a:gd name="T73" fmla="*/ 24 h 697"/>
                <a:gd name="T74" fmla="*/ 16 w 705"/>
                <a:gd name="T75" fmla="*/ 16 h 697"/>
                <a:gd name="T76" fmla="*/ 0 w 705"/>
                <a:gd name="T77" fmla="*/ 0 h 697"/>
                <a:gd name="T78" fmla="*/ 705 w 705"/>
                <a:gd name="T79" fmla="*/ 697 h 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T76" t="T77" r="T78" b="T79"/>
              <a:pathLst>
                <a:path w="705" h="697">
                  <a:moveTo>
                    <a:pt x="8" y="32"/>
                  </a:moveTo>
                  <a:lnTo>
                    <a:pt x="16" y="64"/>
                  </a:lnTo>
                  <a:lnTo>
                    <a:pt x="0" y="96"/>
                  </a:lnTo>
                  <a:lnTo>
                    <a:pt x="32" y="104"/>
                  </a:lnTo>
                  <a:lnTo>
                    <a:pt x="48" y="88"/>
                  </a:lnTo>
                  <a:lnTo>
                    <a:pt x="72" y="104"/>
                  </a:lnTo>
                  <a:lnTo>
                    <a:pt x="88" y="152"/>
                  </a:lnTo>
                  <a:lnTo>
                    <a:pt x="104" y="176"/>
                  </a:lnTo>
                  <a:lnTo>
                    <a:pt x="144" y="160"/>
                  </a:lnTo>
                  <a:lnTo>
                    <a:pt x="160" y="160"/>
                  </a:lnTo>
                  <a:lnTo>
                    <a:pt x="192" y="128"/>
                  </a:lnTo>
                  <a:lnTo>
                    <a:pt x="232" y="168"/>
                  </a:lnTo>
                  <a:lnTo>
                    <a:pt x="208" y="248"/>
                  </a:lnTo>
                  <a:lnTo>
                    <a:pt x="216" y="312"/>
                  </a:lnTo>
                  <a:lnTo>
                    <a:pt x="192" y="336"/>
                  </a:lnTo>
                  <a:lnTo>
                    <a:pt x="192" y="392"/>
                  </a:lnTo>
                  <a:lnTo>
                    <a:pt x="176" y="368"/>
                  </a:lnTo>
                  <a:lnTo>
                    <a:pt x="104" y="464"/>
                  </a:lnTo>
                  <a:lnTo>
                    <a:pt x="128" y="504"/>
                  </a:lnTo>
                  <a:lnTo>
                    <a:pt x="152" y="488"/>
                  </a:lnTo>
                  <a:lnTo>
                    <a:pt x="160" y="504"/>
                  </a:lnTo>
                  <a:lnTo>
                    <a:pt x="136" y="520"/>
                  </a:lnTo>
                  <a:lnTo>
                    <a:pt x="136" y="544"/>
                  </a:lnTo>
                  <a:lnTo>
                    <a:pt x="176" y="544"/>
                  </a:lnTo>
                  <a:lnTo>
                    <a:pt x="192" y="536"/>
                  </a:lnTo>
                  <a:lnTo>
                    <a:pt x="192" y="576"/>
                  </a:lnTo>
                  <a:lnTo>
                    <a:pt x="232" y="600"/>
                  </a:lnTo>
                  <a:lnTo>
                    <a:pt x="288" y="584"/>
                  </a:lnTo>
                  <a:lnTo>
                    <a:pt x="288" y="608"/>
                  </a:lnTo>
                  <a:lnTo>
                    <a:pt x="320" y="592"/>
                  </a:lnTo>
                  <a:lnTo>
                    <a:pt x="368" y="640"/>
                  </a:lnTo>
                  <a:lnTo>
                    <a:pt x="384" y="640"/>
                  </a:lnTo>
                  <a:lnTo>
                    <a:pt x="400" y="672"/>
                  </a:lnTo>
                  <a:lnTo>
                    <a:pt x="424" y="664"/>
                  </a:lnTo>
                  <a:lnTo>
                    <a:pt x="424" y="632"/>
                  </a:lnTo>
                  <a:lnTo>
                    <a:pt x="432" y="624"/>
                  </a:lnTo>
                  <a:lnTo>
                    <a:pt x="432" y="664"/>
                  </a:lnTo>
                  <a:lnTo>
                    <a:pt x="480" y="696"/>
                  </a:lnTo>
                  <a:lnTo>
                    <a:pt x="488" y="672"/>
                  </a:lnTo>
                  <a:lnTo>
                    <a:pt x="496" y="680"/>
                  </a:lnTo>
                  <a:lnTo>
                    <a:pt x="528" y="648"/>
                  </a:lnTo>
                  <a:lnTo>
                    <a:pt x="552" y="680"/>
                  </a:lnTo>
                  <a:lnTo>
                    <a:pt x="600" y="680"/>
                  </a:lnTo>
                  <a:lnTo>
                    <a:pt x="592" y="632"/>
                  </a:lnTo>
                  <a:lnTo>
                    <a:pt x="568" y="576"/>
                  </a:lnTo>
                  <a:lnTo>
                    <a:pt x="600" y="528"/>
                  </a:lnTo>
                  <a:lnTo>
                    <a:pt x="632" y="520"/>
                  </a:lnTo>
                  <a:lnTo>
                    <a:pt x="664" y="536"/>
                  </a:lnTo>
                  <a:lnTo>
                    <a:pt x="688" y="424"/>
                  </a:lnTo>
                  <a:lnTo>
                    <a:pt x="680" y="344"/>
                  </a:lnTo>
                  <a:lnTo>
                    <a:pt x="696" y="328"/>
                  </a:lnTo>
                  <a:lnTo>
                    <a:pt x="696" y="296"/>
                  </a:lnTo>
                  <a:lnTo>
                    <a:pt x="680" y="288"/>
                  </a:lnTo>
                  <a:lnTo>
                    <a:pt x="704" y="256"/>
                  </a:lnTo>
                  <a:lnTo>
                    <a:pt x="680" y="256"/>
                  </a:lnTo>
                  <a:lnTo>
                    <a:pt x="608" y="320"/>
                  </a:lnTo>
                  <a:lnTo>
                    <a:pt x="608" y="336"/>
                  </a:lnTo>
                  <a:lnTo>
                    <a:pt x="560" y="360"/>
                  </a:lnTo>
                  <a:lnTo>
                    <a:pt x="520" y="360"/>
                  </a:lnTo>
                  <a:lnTo>
                    <a:pt x="488" y="304"/>
                  </a:lnTo>
                  <a:lnTo>
                    <a:pt x="488" y="280"/>
                  </a:lnTo>
                  <a:lnTo>
                    <a:pt x="440" y="280"/>
                  </a:lnTo>
                  <a:lnTo>
                    <a:pt x="416" y="256"/>
                  </a:lnTo>
                  <a:lnTo>
                    <a:pt x="376" y="256"/>
                  </a:lnTo>
                  <a:lnTo>
                    <a:pt x="376" y="240"/>
                  </a:lnTo>
                  <a:lnTo>
                    <a:pt x="360" y="240"/>
                  </a:lnTo>
                  <a:lnTo>
                    <a:pt x="360" y="256"/>
                  </a:lnTo>
                  <a:lnTo>
                    <a:pt x="336" y="248"/>
                  </a:lnTo>
                  <a:lnTo>
                    <a:pt x="296" y="176"/>
                  </a:lnTo>
                  <a:lnTo>
                    <a:pt x="264" y="128"/>
                  </a:lnTo>
                  <a:lnTo>
                    <a:pt x="248" y="104"/>
                  </a:lnTo>
                  <a:lnTo>
                    <a:pt x="248" y="88"/>
                  </a:lnTo>
                  <a:lnTo>
                    <a:pt x="200" y="24"/>
                  </a:lnTo>
                  <a:lnTo>
                    <a:pt x="144" y="24"/>
                  </a:lnTo>
                  <a:lnTo>
                    <a:pt x="104" y="0"/>
                  </a:lnTo>
                  <a:lnTo>
                    <a:pt x="16" y="16"/>
                  </a:lnTo>
                  <a:lnTo>
                    <a:pt x="8" y="32"/>
                  </a:ln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99" name="Freeform 8"/>
            <p:cNvSpPr/>
            <p:nvPr/>
          </p:nvSpPr>
          <p:spPr bwMode="auto">
            <a:xfrm>
              <a:off x="4414838" y="2584450"/>
              <a:ext cx="788987" cy="552450"/>
            </a:xfrm>
            <a:custGeom>
              <a:avLst/>
              <a:gdLst>
                <a:gd name="T0" fmla="*/ 528 w 529"/>
                <a:gd name="T1" fmla="*/ 144 h 401"/>
                <a:gd name="T2" fmla="*/ 480 w 529"/>
                <a:gd name="T3" fmla="*/ 144 h 401"/>
                <a:gd name="T4" fmla="*/ 456 w 529"/>
                <a:gd name="T5" fmla="*/ 120 h 401"/>
                <a:gd name="T6" fmla="*/ 424 w 529"/>
                <a:gd name="T7" fmla="*/ 152 h 401"/>
                <a:gd name="T8" fmla="*/ 416 w 529"/>
                <a:gd name="T9" fmla="*/ 136 h 401"/>
                <a:gd name="T10" fmla="*/ 408 w 529"/>
                <a:gd name="T11" fmla="*/ 160 h 401"/>
                <a:gd name="T12" fmla="*/ 360 w 529"/>
                <a:gd name="T13" fmla="*/ 128 h 401"/>
                <a:gd name="T14" fmla="*/ 360 w 529"/>
                <a:gd name="T15" fmla="*/ 88 h 401"/>
                <a:gd name="T16" fmla="*/ 344 w 529"/>
                <a:gd name="T17" fmla="*/ 96 h 401"/>
                <a:gd name="T18" fmla="*/ 352 w 529"/>
                <a:gd name="T19" fmla="*/ 128 h 401"/>
                <a:gd name="T20" fmla="*/ 328 w 529"/>
                <a:gd name="T21" fmla="*/ 128 h 401"/>
                <a:gd name="T22" fmla="*/ 312 w 529"/>
                <a:gd name="T23" fmla="*/ 104 h 401"/>
                <a:gd name="T24" fmla="*/ 296 w 529"/>
                <a:gd name="T25" fmla="*/ 104 h 401"/>
                <a:gd name="T26" fmla="*/ 248 w 529"/>
                <a:gd name="T27" fmla="*/ 56 h 401"/>
                <a:gd name="T28" fmla="*/ 216 w 529"/>
                <a:gd name="T29" fmla="*/ 72 h 401"/>
                <a:gd name="T30" fmla="*/ 216 w 529"/>
                <a:gd name="T31" fmla="*/ 56 h 401"/>
                <a:gd name="T32" fmla="*/ 160 w 529"/>
                <a:gd name="T33" fmla="*/ 64 h 401"/>
                <a:gd name="T34" fmla="*/ 120 w 529"/>
                <a:gd name="T35" fmla="*/ 40 h 401"/>
                <a:gd name="T36" fmla="*/ 120 w 529"/>
                <a:gd name="T37" fmla="*/ 0 h 401"/>
                <a:gd name="T38" fmla="*/ 104 w 529"/>
                <a:gd name="T39" fmla="*/ 8 h 401"/>
                <a:gd name="T40" fmla="*/ 64 w 529"/>
                <a:gd name="T41" fmla="*/ 8 h 401"/>
                <a:gd name="T42" fmla="*/ 72 w 529"/>
                <a:gd name="T43" fmla="*/ 56 h 401"/>
                <a:gd name="T44" fmla="*/ 48 w 529"/>
                <a:gd name="T45" fmla="*/ 56 h 401"/>
                <a:gd name="T46" fmla="*/ 8 w 529"/>
                <a:gd name="T47" fmla="*/ 32 h 401"/>
                <a:gd name="T48" fmla="*/ 0 w 529"/>
                <a:gd name="T49" fmla="*/ 56 h 401"/>
                <a:gd name="T50" fmla="*/ 32 w 529"/>
                <a:gd name="T51" fmla="*/ 88 h 401"/>
                <a:gd name="T52" fmla="*/ 24 w 529"/>
                <a:gd name="T53" fmla="*/ 120 h 401"/>
                <a:gd name="T54" fmla="*/ 48 w 529"/>
                <a:gd name="T55" fmla="*/ 160 h 401"/>
                <a:gd name="T56" fmla="*/ 88 w 529"/>
                <a:gd name="T57" fmla="*/ 136 h 401"/>
                <a:gd name="T58" fmla="*/ 112 w 529"/>
                <a:gd name="T59" fmla="*/ 184 h 401"/>
                <a:gd name="T60" fmla="*/ 112 w 529"/>
                <a:gd name="T61" fmla="*/ 224 h 401"/>
                <a:gd name="T62" fmla="*/ 152 w 529"/>
                <a:gd name="T63" fmla="*/ 224 h 401"/>
                <a:gd name="T64" fmla="*/ 168 w 529"/>
                <a:gd name="T65" fmla="*/ 264 h 401"/>
                <a:gd name="T66" fmla="*/ 176 w 529"/>
                <a:gd name="T67" fmla="*/ 232 h 401"/>
                <a:gd name="T68" fmla="*/ 208 w 529"/>
                <a:gd name="T69" fmla="*/ 280 h 401"/>
                <a:gd name="T70" fmla="*/ 232 w 529"/>
                <a:gd name="T71" fmla="*/ 320 h 401"/>
                <a:gd name="T72" fmla="*/ 232 w 529"/>
                <a:gd name="T73" fmla="*/ 344 h 401"/>
                <a:gd name="T74" fmla="*/ 264 w 529"/>
                <a:gd name="T75" fmla="*/ 400 h 401"/>
                <a:gd name="T76" fmla="*/ 288 w 529"/>
                <a:gd name="T77" fmla="*/ 376 h 401"/>
                <a:gd name="T78" fmla="*/ 304 w 529"/>
                <a:gd name="T79" fmla="*/ 328 h 401"/>
                <a:gd name="T80" fmla="*/ 320 w 529"/>
                <a:gd name="T81" fmla="*/ 320 h 401"/>
                <a:gd name="T82" fmla="*/ 336 w 529"/>
                <a:gd name="T83" fmla="*/ 328 h 401"/>
                <a:gd name="T84" fmla="*/ 328 w 529"/>
                <a:gd name="T85" fmla="*/ 344 h 401"/>
                <a:gd name="T86" fmla="*/ 376 w 529"/>
                <a:gd name="T87" fmla="*/ 344 h 401"/>
                <a:gd name="T88" fmla="*/ 392 w 529"/>
                <a:gd name="T89" fmla="*/ 328 h 401"/>
                <a:gd name="T90" fmla="*/ 392 w 529"/>
                <a:gd name="T91" fmla="*/ 312 h 401"/>
                <a:gd name="T92" fmla="*/ 384 w 529"/>
                <a:gd name="T93" fmla="*/ 296 h 401"/>
                <a:gd name="T94" fmla="*/ 432 w 529"/>
                <a:gd name="T95" fmla="*/ 272 h 401"/>
                <a:gd name="T96" fmla="*/ 440 w 529"/>
                <a:gd name="T97" fmla="*/ 264 h 401"/>
                <a:gd name="T98" fmla="*/ 440 w 529"/>
                <a:gd name="T99" fmla="*/ 248 h 401"/>
                <a:gd name="T100" fmla="*/ 456 w 529"/>
                <a:gd name="T101" fmla="*/ 240 h 401"/>
                <a:gd name="T102" fmla="*/ 456 w 529"/>
                <a:gd name="T103" fmla="*/ 192 h 401"/>
                <a:gd name="T104" fmla="*/ 472 w 529"/>
                <a:gd name="T105" fmla="*/ 192 h 401"/>
                <a:gd name="T106" fmla="*/ 480 w 529"/>
                <a:gd name="T107" fmla="*/ 216 h 401"/>
                <a:gd name="T108" fmla="*/ 504 w 529"/>
                <a:gd name="T109" fmla="*/ 232 h 401"/>
                <a:gd name="T110" fmla="*/ 512 w 529"/>
                <a:gd name="T111" fmla="*/ 224 h 401"/>
                <a:gd name="T112" fmla="*/ 504 w 529"/>
                <a:gd name="T113" fmla="*/ 208 h 401"/>
                <a:gd name="T114" fmla="*/ 504 w 529"/>
                <a:gd name="T115" fmla="*/ 192 h 401"/>
                <a:gd name="T116" fmla="*/ 528 w 529"/>
                <a:gd name="T117" fmla="*/ 184 h 401"/>
                <a:gd name="T118" fmla="*/ 528 w 529"/>
                <a:gd name="T119" fmla="*/ 144 h 401"/>
                <a:gd name="T120" fmla="*/ 0 w 529"/>
                <a:gd name="T121" fmla="*/ 0 h 401"/>
                <a:gd name="T122" fmla="*/ 529 w 529"/>
                <a:gd name="T123" fmla="*/ 401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T120" t="T121" r="T122" b="T123"/>
              <a:pathLst>
                <a:path w="529" h="401">
                  <a:moveTo>
                    <a:pt x="528" y="144"/>
                  </a:moveTo>
                  <a:lnTo>
                    <a:pt x="480" y="144"/>
                  </a:lnTo>
                  <a:lnTo>
                    <a:pt x="456" y="120"/>
                  </a:lnTo>
                  <a:lnTo>
                    <a:pt x="424" y="152"/>
                  </a:lnTo>
                  <a:lnTo>
                    <a:pt x="416" y="136"/>
                  </a:lnTo>
                  <a:lnTo>
                    <a:pt x="408" y="160"/>
                  </a:lnTo>
                  <a:lnTo>
                    <a:pt x="360" y="128"/>
                  </a:lnTo>
                  <a:lnTo>
                    <a:pt x="360" y="88"/>
                  </a:lnTo>
                  <a:lnTo>
                    <a:pt x="344" y="96"/>
                  </a:lnTo>
                  <a:lnTo>
                    <a:pt x="352" y="128"/>
                  </a:lnTo>
                  <a:lnTo>
                    <a:pt x="328" y="128"/>
                  </a:lnTo>
                  <a:lnTo>
                    <a:pt x="312" y="104"/>
                  </a:lnTo>
                  <a:lnTo>
                    <a:pt x="296" y="104"/>
                  </a:lnTo>
                  <a:lnTo>
                    <a:pt x="248" y="56"/>
                  </a:lnTo>
                  <a:lnTo>
                    <a:pt x="216" y="72"/>
                  </a:lnTo>
                  <a:lnTo>
                    <a:pt x="216" y="56"/>
                  </a:lnTo>
                  <a:lnTo>
                    <a:pt x="160" y="64"/>
                  </a:lnTo>
                  <a:lnTo>
                    <a:pt x="120" y="40"/>
                  </a:lnTo>
                  <a:lnTo>
                    <a:pt x="120" y="0"/>
                  </a:lnTo>
                  <a:lnTo>
                    <a:pt x="104" y="8"/>
                  </a:lnTo>
                  <a:lnTo>
                    <a:pt x="64" y="8"/>
                  </a:lnTo>
                  <a:lnTo>
                    <a:pt x="72" y="56"/>
                  </a:lnTo>
                  <a:lnTo>
                    <a:pt x="48" y="56"/>
                  </a:lnTo>
                  <a:lnTo>
                    <a:pt x="8" y="32"/>
                  </a:lnTo>
                  <a:lnTo>
                    <a:pt x="0" y="56"/>
                  </a:lnTo>
                  <a:lnTo>
                    <a:pt x="32" y="88"/>
                  </a:lnTo>
                  <a:lnTo>
                    <a:pt x="24" y="120"/>
                  </a:lnTo>
                  <a:lnTo>
                    <a:pt x="48" y="160"/>
                  </a:lnTo>
                  <a:lnTo>
                    <a:pt x="88" y="136"/>
                  </a:lnTo>
                  <a:lnTo>
                    <a:pt x="112" y="184"/>
                  </a:lnTo>
                  <a:lnTo>
                    <a:pt x="112" y="224"/>
                  </a:lnTo>
                  <a:lnTo>
                    <a:pt x="152" y="224"/>
                  </a:lnTo>
                  <a:lnTo>
                    <a:pt x="168" y="264"/>
                  </a:lnTo>
                  <a:lnTo>
                    <a:pt x="176" y="232"/>
                  </a:lnTo>
                  <a:lnTo>
                    <a:pt x="208" y="280"/>
                  </a:lnTo>
                  <a:lnTo>
                    <a:pt x="232" y="320"/>
                  </a:lnTo>
                  <a:lnTo>
                    <a:pt x="232" y="344"/>
                  </a:lnTo>
                  <a:lnTo>
                    <a:pt x="264" y="400"/>
                  </a:lnTo>
                  <a:lnTo>
                    <a:pt x="288" y="376"/>
                  </a:lnTo>
                  <a:lnTo>
                    <a:pt x="304" y="328"/>
                  </a:lnTo>
                  <a:lnTo>
                    <a:pt x="320" y="320"/>
                  </a:lnTo>
                  <a:lnTo>
                    <a:pt x="336" y="328"/>
                  </a:lnTo>
                  <a:lnTo>
                    <a:pt x="328" y="344"/>
                  </a:lnTo>
                  <a:lnTo>
                    <a:pt x="376" y="344"/>
                  </a:lnTo>
                  <a:lnTo>
                    <a:pt x="392" y="328"/>
                  </a:lnTo>
                  <a:lnTo>
                    <a:pt x="392" y="312"/>
                  </a:lnTo>
                  <a:lnTo>
                    <a:pt x="384" y="296"/>
                  </a:lnTo>
                  <a:lnTo>
                    <a:pt x="432" y="272"/>
                  </a:lnTo>
                  <a:lnTo>
                    <a:pt x="440" y="264"/>
                  </a:lnTo>
                  <a:lnTo>
                    <a:pt x="440" y="248"/>
                  </a:lnTo>
                  <a:lnTo>
                    <a:pt x="456" y="240"/>
                  </a:lnTo>
                  <a:lnTo>
                    <a:pt x="456" y="192"/>
                  </a:lnTo>
                  <a:lnTo>
                    <a:pt x="472" y="192"/>
                  </a:lnTo>
                  <a:lnTo>
                    <a:pt x="480" y="216"/>
                  </a:lnTo>
                  <a:lnTo>
                    <a:pt x="504" y="232"/>
                  </a:lnTo>
                  <a:lnTo>
                    <a:pt x="512" y="224"/>
                  </a:lnTo>
                  <a:lnTo>
                    <a:pt x="504" y="208"/>
                  </a:lnTo>
                  <a:lnTo>
                    <a:pt x="504" y="192"/>
                  </a:lnTo>
                  <a:lnTo>
                    <a:pt x="528" y="184"/>
                  </a:lnTo>
                  <a:lnTo>
                    <a:pt x="528" y="144"/>
                  </a:ln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00" name="Freeform 9"/>
            <p:cNvSpPr/>
            <p:nvPr/>
          </p:nvSpPr>
          <p:spPr bwMode="auto">
            <a:xfrm>
              <a:off x="4248150" y="2892425"/>
              <a:ext cx="561975" cy="541338"/>
            </a:xfrm>
            <a:custGeom>
              <a:avLst/>
              <a:gdLst>
                <a:gd name="T0" fmla="*/ 376 w 377"/>
                <a:gd name="T1" fmla="*/ 176 h 393"/>
                <a:gd name="T2" fmla="*/ 336 w 377"/>
                <a:gd name="T3" fmla="*/ 120 h 393"/>
                <a:gd name="T4" fmla="*/ 344 w 377"/>
                <a:gd name="T5" fmla="*/ 96 h 393"/>
                <a:gd name="T6" fmla="*/ 312 w 377"/>
                <a:gd name="T7" fmla="*/ 40 h 393"/>
                <a:gd name="T8" fmla="*/ 288 w 377"/>
                <a:gd name="T9" fmla="*/ 8 h 393"/>
                <a:gd name="T10" fmla="*/ 280 w 377"/>
                <a:gd name="T11" fmla="*/ 40 h 393"/>
                <a:gd name="T12" fmla="*/ 264 w 377"/>
                <a:gd name="T13" fmla="*/ 0 h 393"/>
                <a:gd name="T14" fmla="*/ 232 w 377"/>
                <a:gd name="T15" fmla="*/ 0 h 393"/>
                <a:gd name="T16" fmla="*/ 240 w 377"/>
                <a:gd name="T17" fmla="*/ 24 h 393"/>
                <a:gd name="T18" fmla="*/ 200 w 377"/>
                <a:gd name="T19" fmla="*/ 56 h 393"/>
                <a:gd name="T20" fmla="*/ 176 w 377"/>
                <a:gd name="T21" fmla="*/ 56 h 393"/>
                <a:gd name="T22" fmla="*/ 48 w 377"/>
                <a:gd name="T23" fmla="*/ 144 h 393"/>
                <a:gd name="T24" fmla="*/ 24 w 377"/>
                <a:gd name="T25" fmla="*/ 112 h 393"/>
                <a:gd name="T26" fmla="*/ 8 w 377"/>
                <a:gd name="T27" fmla="*/ 112 h 393"/>
                <a:gd name="T28" fmla="*/ 16 w 377"/>
                <a:gd name="T29" fmla="*/ 136 h 393"/>
                <a:gd name="T30" fmla="*/ 16 w 377"/>
                <a:gd name="T31" fmla="*/ 160 h 393"/>
                <a:gd name="T32" fmla="*/ 24 w 377"/>
                <a:gd name="T33" fmla="*/ 184 h 393"/>
                <a:gd name="T34" fmla="*/ 8 w 377"/>
                <a:gd name="T35" fmla="*/ 184 h 393"/>
                <a:gd name="T36" fmla="*/ 8 w 377"/>
                <a:gd name="T37" fmla="*/ 216 h 393"/>
                <a:gd name="T38" fmla="*/ 0 w 377"/>
                <a:gd name="T39" fmla="*/ 232 h 393"/>
                <a:gd name="T40" fmla="*/ 32 w 377"/>
                <a:gd name="T41" fmla="*/ 240 h 393"/>
                <a:gd name="T42" fmla="*/ 64 w 377"/>
                <a:gd name="T43" fmla="*/ 296 h 393"/>
                <a:gd name="T44" fmla="*/ 104 w 377"/>
                <a:gd name="T45" fmla="*/ 240 h 393"/>
                <a:gd name="T46" fmla="*/ 120 w 377"/>
                <a:gd name="T47" fmla="*/ 208 h 393"/>
                <a:gd name="T48" fmla="*/ 160 w 377"/>
                <a:gd name="T49" fmla="*/ 200 h 393"/>
                <a:gd name="T50" fmla="*/ 184 w 377"/>
                <a:gd name="T51" fmla="*/ 216 h 393"/>
                <a:gd name="T52" fmla="*/ 184 w 377"/>
                <a:gd name="T53" fmla="*/ 224 h 393"/>
                <a:gd name="T54" fmla="*/ 192 w 377"/>
                <a:gd name="T55" fmla="*/ 224 h 393"/>
                <a:gd name="T56" fmla="*/ 168 w 377"/>
                <a:gd name="T57" fmla="*/ 280 h 393"/>
                <a:gd name="T58" fmla="*/ 152 w 377"/>
                <a:gd name="T59" fmla="*/ 280 h 393"/>
                <a:gd name="T60" fmla="*/ 160 w 377"/>
                <a:gd name="T61" fmla="*/ 312 h 393"/>
                <a:gd name="T62" fmla="*/ 152 w 377"/>
                <a:gd name="T63" fmla="*/ 320 h 393"/>
                <a:gd name="T64" fmla="*/ 168 w 377"/>
                <a:gd name="T65" fmla="*/ 320 h 393"/>
                <a:gd name="T66" fmla="*/ 136 w 377"/>
                <a:gd name="T67" fmla="*/ 376 h 393"/>
                <a:gd name="T68" fmla="*/ 144 w 377"/>
                <a:gd name="T69" fmla="*/ 392 h 393"/>
                <a:gd name="T70" fmla="*/ 160 w 377"/>
                <a:gd name="T71" fmla="*/ 376 h 393"/>
                <a:gd name="T72" fmla="*/ 168 w 377"/>
                <a:gd name="T73" fmla="*/ 352 h 393"/>
                <a:gd name="T74" fmla="*/ 184 w 377"/>
                <a:gd name="T75" fmla="*/ 352 h 393"/>
                <a:gd name="T76" fmla="*/ 200 w 377"/>
                <a:gd name="T77" fmla="*/ 336 h 393"/>
                <a:gd name="T78" fmla="*/ 200 w 377"/>
                <a:gd name="T79" fmla="*/ 312 h 393"/>
                <a:gd name="T80" fmla="*/ 256 w 377"/>
                <a:gd name="T81" fmla="*/ 280 h 393"/>
                <a:gd name="T82" fmla="*/ 304 w 377"/>
                <a:gd name="T83" fmla="*/ 264 h 393"/>
                <a:gd name="T84" fmla="*/ 312 w 377"/>
                <a:gd name="T85" fmla="*/ 224 h 393"/>
                <a:gd name="T86" fmla="*/ 344 w 377"/>
                <a:gd name="T87" fmla="*/ 200 h 393"/>
                <a:gd name="T88" fmla="*/ 368 w 377"/>
                <a:gd name="T89" fmla="*/ 192 h 393"/>
                <a:gd name="T90" fmla="*/ 376 w 377"/>
                <a:gd name="T91" fmla="*/ 176 h 393"/>
                <a:gd name="T92" fmla="*/ 0 w 377"/>
                <a:gd name="T93" fmla="*/ 0 h 393"/>
                <a:gd name="T94" fmla="*/ 377 w 377"/>
                <a:gd name="T95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T92" t="T93" r="T94" b="T95"/>
              <a:pathLst>
                <a:path w="377" h="393">
                  <a:moveTo>
                    <a:pt x="376" y="176"/>
                  </a:moveTo>
                  <a:lnTo>
                    <a:pt x="336" y="120"/>
                  </a:lnTo>
                  <a:lnTo>
                    <a:pt x="344" y="96"/>
                  </a:lnTo>
                  <a:lnTo>
                    <a:pt x="312" y="40"/>
                  </a:lnTo>
                  <a:lnTo>
                    <a:pt x="288" y="8"/>
                  </a:lnTo>
                  <a:lnTo>
                    <a:pt x="280" y="40"/>
                  </a:lnTo>
                  <a:lnTo>
                    <a:pt x="264" y="0"/>
                  </a:lnTo>
                  <a:lnTo>
                    <a:pt x="232" y="0"/>
                  </a:lnTo>
                  <a:lnTo>
                    <a:pt x="240" y="24"/>
                  </a:lnTo>
                  <a:lnTo>
                    <a:pt x="200" y="56"/>
                  </a:lnTo>
                  <a:lnTo>
                    <a:pt x="176" y="56"/>
                  </a:lnTo>
                  <a:lnTo>
                    <a:pt x="48" y="144"/>
                  </a:lnTo>
                  <a:lnTo>
                    <a:pt x="24" y="112"/>
                  </a:lnTo>
                  <a:lnTo>
                    <a:pt x="8" y="112"/>
                  </a:lnTo>
                  <a:lnTo>
                    <a:pt x="16" y="136"/>
                  </a:lnTo>
                  <a:lnTo>
                    <a:pt x="16" y="160"/>
                  </a:lnTo>
                  <a:lnTo>
                    <a:pt x="24" y="184"/>
                  </a:lnTo>
                  <a:lnTo>
                    <a:pt x="8" y="184"/>
                  </a:lnTo>
                  <a:lnTo>
                    <a:pt x="8" y="216"/>
                  </a:lnTo>
                  <a:lnTo>
                    <a:pt x="0" y="232"/>
                  </a:lnTo>
                  <a:lnTo>
                    <a:pt x="32" y="240"/>
                  </a:lnTo>
                  <a:lnTo>
                    <a:pt x="64" y="296"/>
                  </a:lnTo>
                  <a:lnTo>
                    <a:pt x="104" y="240"/>
                  </a:lnTo>
                  <a:lnTo>
                    <a:pt x="120" y="208"/>
                  </a:lnTo>
                  <a:lnTo>
                    <a:pt x="160" y="200"/>
                  </a:lnTo>
                  <a:lnTo>
                    <a:pt x="184" y="216"/>
                  </a:lnTo>
                  <a:lnTo>
                    <a:pt x="184" y="224"/>
                  </a:lnTo>
                  <a:lnTo>
                    <a:pt x="192" y="224"/>
                  </a:lnTo>
                  <a:lnTo>
                    <a:pt x="168" y="280"/>
                  </a:lnTo>
                  <a:lnTo>
                    <a:pt x="152" y="280"/>
                  </a:lnTo>
                  <a:lnTo>
                    <a:pt x="160" y="312"/>
                  </a:lnTo>
                  <a:lnTo>
                    <a:pt x="152" y="320"/>
                  </a:lnTo>
                  <a:lnTo>
                    <a:pt x="168" y="320"/>
                  </a:lnTo>
                  <a:lnTo>
                    <a:pt x="136" y="376"/>
                  </a:lnTo>
                  <a:lnTo>
                    <a:pt x="144" y="392"/>
                  </a:lnTo>
                  <a:lnTo>
                    <a:pt x="160" y="376"/>
                  </a:lnTo>
                  <a:lnTo>
                    <a:pt x="168" y="352"/>
                  </a:lnTo>
                  <a:lnTo>
                    <a:pt x="184" y="352"/>
                  </a:lnTo>
                  <a:lnTo>
                    <a:pt x="200" y="336"/>
                  </a:lnTo>
                  <a:lnTo>
                    <a:pt x="200" y="312"/>
                  </a:lnTo>
                  <a:lnTo>
                    <a:pt x="256" y="280"/>
                  </a:lnTo>
                  <a:lnTo>
                    <a:pt x="304" y="264"/>
                  </a:lnTo>
                  <a:lnTo>
                    <a:pt x="312" y="224"/>
                  </a:lnTo>
                  <a:lnTo>
                    <a:pt x="344" y="200"/>
                  </a:lnTo>
                  <a:lnTo>
                    <a:pt x="368" y="192"/>
                  </a:lnTo>
                  <a:lnTo>
                    <a:pt x="376" y="176"/>
                  </a:ln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01" name="Freeform 10"/>
            <p:cNvSpPr/>
            <p:nvPr/>
          </p:nvSpPr>
          <p:spPr bwMode="auto">
            <a:xfrm>
              <a:off x="3821113" y="3014663"/>
              <a:ext cx="525462" cy="738187"/>
            </a:xfrm>
            <a:custGeom>
              <a:avLst/>
              <a:gdLst>
                <a:gd name="T0" fmla="*/ 320 w 353"/>
                <a:gd name="T1" fmla="*/ 160 h 537"/>
                <a:gd name="T2" fmla="*/ 296 w 353"/>
                <a:gd name="T3" fmla="*/ 96 h 537"/>
                <a:gd name="T4" fmla="*/ 248 w 353"/>
                <a:gd name="T5" fmla="*/ 88 h 537"/>
                <a:gd name="T6" fmla="*/ 224 w 353"/>
                <a:gd name="T7" fmla="*/ 0 h 537"/>
                <a:gd name="T8" fmla="*/ 176 w 353"/>
                <a:gd name="T9" fmla="*/ 64 h 537"/>
                <a:gd name="T10" fmla="*/ 136 w 353"/>
                <a:gd name="T11" fmla="*/ 80 h 537"/>
                <a:gd name="T12" fmla="*/ 80 w 353"/>
                <a:gd name="T13" fmla="*/ 104 h 537"/>
                <a:gd name="T14" fmla="*/ 32 w 353"/>
                <a:gd name="T15" fmla="*/ 72 h 537"/>
                <a:gd name="T16" fmla="*/ 8 w 353"/>
                <a:gd name="T17" fmla="*/ 120 h 537"/>
                <a:gd name="T18" fmla="*/ 56 w 353"/>
                <a:gd name="T19" fmla="*/ 200 h 537"/>
                <a:gd name="T20" fmla="*/ 24 w 353"/>
                <a:gd name="T21" fmla="*/ 232 h 537"/>
                <a:gd name="T22" fmla="*/ 64 w 353"/>
                <a:gd name="T23" fmla="*/ 272 h 537"/>
                <a:gd name="T24" fmla="*/ 32 w 353"/>
                <a:gd name="T25" fmla="*/ 288 h 537"/>
                <a:gd name="T26" fmla="*/ 16 w 353"/>
                <a:gd name="T27" fmla="*/ 328 h 537"/>
                <a:gd name="T28" fmla="*/ 32 w 353"/>
                <a:gd name="T29" fmla="*/ 400 h 537"/>
                <a:gd name="T30" fmla="*/ 24 w 353"/>
                <a:gd name="T31" fmla="*/ 512 h 537"/>
                <a:gd name="T32" fmla="*/ 88 w 353"/>
                <a:gd name="T33" fmla="*/ 528 h 537"/>
                <a:gd name="T34" fmla="*/ 112 w 353"/>
                <a:gd name="T35" fmla="*/ 512 h 537"/>
                <a:gd name="T36" fmla="*/ 152 w 353"/>
                <a:gd name="T37" fmla="*/ 424 h 537"/>
                <a:gd name="T38" fmla="*/ 232 w 353"/>
                <a:gd name="T39" fmla="*/ 376 h 537"/>
                <a:gd name="T40" fmla="*/ 240 w 353"/>
                <a:gd name="T41" fmla="*/ 344 h 537"/>
                <a:gd name="T42" fmla="*/ 192 w 353"/>
                <a:gd name="T43" fmla="*/ 320 h 537"/>
                <a:gd name="T44" fmla="*/ 184 w 353"/>
                <a:gd name="T45" fmla="*/ 288 h 537"/>
                <a:gd name="T46" fmla="*/ 160 w 353"/>
                <a:gd name="T47" fmla="*/ 264 h 537"/>
                <a:gd name="T48" fmla="*/ 104 w 353"/>
                <a:gd name="T49" fmla="*/ 256 h 537"/>
                <a:gd name="T50" fmla="*/ 136 w 353"/>
                <a:gd name="T51" fmla="*/ 168 h 537"/>
                <a:gd name="T52" fmla="*/ 160 w 353"/>
                <a:gd name="T53" fmla="*/ 136 h 537"/>
                <a:gd name="T54" fmla="*/ 192 w 353"/>
                <a:gd name="T55" fmla="*/ 152 h 537"/>
                <a:gd name="T56" fmla="*/ 208 w 353"/>
                <a:gd name="T57" fmla="*/ 184 h 537"/>
                <a:gd name="T58" fmla="*/ 224 w 353"/>
                <a:gd name="T59" fmla="*/ 200 h 537"/>
                <a:gd name="T60" fmla="*/ 256 w 353"/>
                <a:gd name="T61" fmla="*/ 256 h 537"/>
                <a:gd name="T62" fmla="*/ 272 w 353"/>
                <a:gd name="T63" fmla="*/ 288 h 537"/>
                <a:gd name="T64" fmla="*/ 328 w 353"/>
                <a:gd name="T65" fmla="*/ 216 h 537"/>
                <a:gd name="T66" fmla="*/ 0 w 353"/>
                <a:gd name="T67" fmla="*/ 0 h 537"/>
                <a:gd name="T68" fmla="*/ 353 w 353"/>
                <a:gd name="T69" fmla="*/ 537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T66" t="T67" r="T68" b="T69"/>
              <a:pathLst>
                <a:path w="353" h="537">
                  <a:moveTo>
                    <a:pt x="352" y="208"/>
                  </a:moveTo>
                  <a:lnTo>
                    <a:pt x="320" y="160"/>
                  </a:lnTo>
                  <a:lnTo>
                    <a:pt x="288" y="152"/>
                  </a:lnTo>
                  <a:lnTo>
                    <a:pt x="296" y="96"/>
                  </a:lnTo>
                  <a:lnTo>
                    <a:pt x="264" y="104"/>
                  </a:lnTo>
                  <a:lnTo>
                    <a:pt x="248" y="88"/>
                  </a:lnTo>
                  <a:lnTo>
                    <a:pt x="248" y="48"/>
                  </a:lnTo>
                  <a:lnTo>
                    <a:pt x="224" y="0"/>
                  </a:lnTo>
                  <a:lnTo>
                    <a:pt x="176" y="24"/>
                  </a:lnTo>
                  <a:lnTo>
                    <a:pt x="176" y="64"/>
                  </a:lnTo>
                  <a:lnTo>
                    <a:pt x="144" y="56"/>
                  </a:lnTo>
                  <a:lnTo>
                    <a:pt x="136" y="80"/>
                  </a:lnTo>
                  <a:lnTo>
                    <a:pt x="112" y="72"/>
                  </a:lnTo>
                  <a:lnTo>
                    <a:pt x="80" y="104"/>
                  </a:lnTo>
                  <a:lnTo>
                    <a:pt x="56" y="56"/>
                  </a:lnTo>
                  <a:lnTo>
                    <a:pt x="32" y="72"/>
                  </a:lnTo>
                  <a:lnTo>
                    <a:pt x="24" y="112"/>
                  </a:lnTo>
                  <a:lnTo>
                    <a:pt x="8" y="120"/>
                  </a:lnTo>
                  <a:lnTo>
                    <a:pt x="32" y="184"/>
                  </a:lnTo>
                  <a:lnTo>
                    <a:pt x="56" y="200"/>
                  </a:lnTo>
                  <a:lnTo>
                    <a:pt x="32" y="216"/>
                  </a:lnTo>
                  <a:lnTo>
                    <a:pt x="24" y="232"/>
                  </a:lnTo>
                  <a:lnTo>
                    <a:pt x="56" y="232"/>
                  </a:lnTo>
                  <a:lnTo>
                    <a:pt x="64" y="272"/>
                  </a:lnTo>
                  <a:lnTo>
                    <a:pt x="48" y="304"/>
                  </a:lnTo>
                  <a:lnTo>
                    <a:pt x="32" y="288"/>
                  </a:lnTo>
                  <a:lnTo>
                    <a:pt x="16" y="304"/>
                  </a:lnTo>
                  <a:lnTo>
                    <a:pt x="16" y="328"/>
                  </a:lnTo>
                  <a:lnTo>
                    <a:pt x="0" y="344"/>
                  </a:lnTo>
                  <a:lnTo>
                    <a:pt x="32" y="400"/>
                  </a:lnTo>
                  <a:lnTo>
                    <a:pt x="8" y="488"/>
                  </a:lnTo>
                  <a:lnTo>
                    <a:pt x="24" y="512"/>
                  </a:lnTo>
                  <a:lnTo>
                    <a:pt x="72" y="512"/>
                  </a:lnTo>
                  <a:lnTo>
                    <a:pt x="88" y="528"/>
                  </a:lnTo>
                  <a:lnTo>
                    <a:pt x="128" y="536"/>
                  </a:lnTo>
                  <a:lnTo>
                    <a:pt x="112" y="512"/>
                  </a:lnTo>
                  <a:lnTo>
                    <a:pt x="120" y="480"/>
                  </a:lnTo>
                  <a:lnTo>
                    <a:pt x="152" y="424"/>
                  </a:lnTo>
                  <a:lnTo>
                    <a:pt x="192" y="384"/>
                  </a:lnTo>
                  <a:lnTo>
                    <a:pt x="232" y="376"/>
                  </a:lnTo>
                  <a:lnTo>
                    <a:pt x="248" y="360"/>
                  </a:lnTo>
                  <a:lnTo>
                    <a:pt x="240" y="344"/>
                  </a:lnTo>
                  <a:lnTo>
                    <a:pt x="224" y="312"/>
                  </a:lnTo>
                  <a:lnTo>
                    <a:pt x="192" y="320"/>
                  </a:lnTo>
                  <a:lnTo>
                    <a:pt x="176" y="312"/>
                  </a:lnTo>
                  <a:lnTo>
                    <a:pt x="184" y="288"/>
                  </a:lnTo>
                  <a:lnTo>
                    <a:pt x="184" y="248"/>
                  </a:lnTo>
                  <a:lnTo>
                    <a:pt x="160" y="264"/>
                  </a:lnTo>
                  <a:lnTo>
                    <a:pt x="128" y="256"/>
                  </a:lnTo>
                  <a:lnTo>
                    <a:pt x="104" y="256"/>
                  </a:lnTo>
                  <a:lnTo>
                    <a:pt x="104" y="224"/>
                  </a:lnTo>
                  <a:lnTo>
                    <a:pt x="136" y="168"/>
                  </a:lnTo>
                  <a:lnTo>
                    <a:pt x="152" y="168"/>
                  </a:lnTo>
                  <a:lnTo>
                    <a:pt x="160" y="136"/>
                  </a:lnTo>
                  <a:lnTo>
                    <a:pt x="176" y="136"/>
                  </a:lnTo>
                  <a:lnTo>
                    <a:pt x="192" y="152"/>
                  </a:lnTo>
                  <a:lnTo>
                    <a:pt x="216" y="152"/>
                  </a:lnTo>
                  <a:lnTo>
                    <a:pt x="208" y="184"/>
                  </a:lnTo>
                  <a:lnTo>
                    <a:pt x="208" y="200"/>
                  </a:lnTo>
                  <a:lnTo>
                    <a:pt x="224" y="200"/>
                  </a:lnTo>
                  <a:lnTo>
                    <a:pt x="224" y="232"/>
                  </a:lnTo>
                  <a:lnTo>
                    <a:pt x="256" y="256"/>
                  </a:lnTo>
                  <a:lnTo>
                    <a:pt x="264" y="280"/>
                  </a:lnTo>
                  <a:lnTo>
                    <a:pt x="272" y="288"/>
                  </a:lnTo>
                  <a:lnTo>
                    <a:pt x="312" y="256"/>
                  </a:lnTo>
                  <a:lnTo>
                    <a:pt x="328" y="216"/>
                  </a:lnTo>
                  <a:lnTo>
                    <a:pt x="352" y="208"/>
                  </a:lnTo>
                </a:path>
              </a:pathLst>
            </a:custGeom>
            <a:solidFill>
              <a:srgbClr val="FF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02" name="Freeform 11"/>
            <p:cNvSpPr/>
            <p:nvPr/>
          </p:nvSpPr>
          <p:spPr bwMode="auto">
            <a:xfrm>
              <a:off x="3973513" y="3201988"/>
              <a:ext cx="168275" cy="176212"/>
            </a:xfrm>
            <a:custGeom>
              <a:avLst/>
              <a:gdLst>
                <a:gd name="T0" fmla="*/ 112 w 113"/>
                <a:gd name="T1" fmla="*/ 64 h 129"/>
                <a:gd name="T2" fmla="*/ 96 w 113"/>
                <a:gd name="T3" fmla="*/ 40 h 129"/>
                <a:gd name="T4" fmla="*/ 112 w 113"/>
                <a:gd name="T5" fmla="*/ 16 h 129"/>
                <a:gd name="T6" fmla="*/ 80 w 113"/>
                <a:gd name="T7" fmla="*/ 16 h 129"/>
                <a:gd name="T8" fmla="*/ 72 w 113"/>
                <a:gd name="T9" fmla="*/ 0 h 129"/>
                <a:gd name="T10" fmla="*/ 56 w 113"/>
                <a:gd name="T11" fmla="*/ 0 h 129"/>
                <a:gd name="T12" fmla="*/ 48 w 113"/>
                <a:gd name="T13" fmla="*/ 32 h 129"/>
                <a:gd name="T14" fmla="*/ 32 w 113"/>
                <a:gd name="T15" fmla="*/ 32 h 129"/>
                <a:gd name="T16" fmla="*/ 0 w 113"/>
                <a:gd name="T17" fmla="*/ 88 h 129"/>
                <a:gd name="T18" fmla="*/ 0 w 113"/>
                <a:gd name="T19" fmla="*/ 120 h 129"/>
                <a:gd name="T20" fmla="*/ 32 w 113"/>
                <a:gd name="T21" fmla="*/ 120 h 129"/>
                <a:gd name="T22" fmla="*/ 48 w 113"/>
                <a:gd name="T23" fmla="*/ 128 h 129"/>
                <a:gd name="T24" fmla="*/ 80 w 113"/>
                <a:gd name="T25" fmla="*/ 112 h 129"/>
                <a:gd name="T26" fmla="*/ 80 w 113"/>
                <a:gd name="T27" fmla="*/ 96 h 129"/>
                <a:gd name="T28" fmla="*/ 72 w 113"/>
                <a:gd name="T29" fmla="*/ 80 h 129"/>
                <a:gd name="T30" fmla="*/ 96 w 113"/>
                <a:gd name="T31" fmla="*/ 80 h 129"/>
                <a:gd name="T32" fmla="*/ 112 w 113"/>
                <a:gd name="T33" fmla="*/ 64 h 129"/>
                <a:gd name="T34" fmla="*/ 0 w 113"/>
                <a:gd name="T35" fmla="*/ 0 h 129"/>
                <a:gd name="T36" fmla="*/ 113 w 113"/>
                <a:gd name="T3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T34" t="T35" r="T36" b="T37"/>
              <a:pathLst>
                <a:path w="113" h="129">
                  <a:moveTo>
                    <a:pt x="112" y="64"/>
                  </a:moveTo>
                  <a:lnTo>
                    <a:pt x="96" y="40"/>
                  </a:lnTo>
                  <a:lnTo>
                    <a:pt x="112" y="16"/>
                  </a:lnTo>
                  <a:lnTo>
                    <a:pt x="80" y="16"/>
                  </a:lnTo>
                  <a:lnTo>
                    <a:pt x="72" y="0"/>
                  </a:lnTo>
                  <a:lnTo>
                    <a:pt x="56" y="0"/>
                  </a:lnTo>
                  <a:lnTo>
                    <a:pt x="48" y="32"/>
                  </a:lnTo>
                  <a:lnTo>
                    <a:pt x="32" y="32"/>
                  </a:lnTo>
                  <a:lnTo>
                    <a:pt x="0" y="88"/>
                  </a:lnTo>
                  <a:lnTo>
                    <a:pt x="0" y="120"/>
                  </a:lnTo>
                  <a:lnTo>
                    <a:pt x="32" y="120"/>
                  </a:lnTo>
                  <a:lnTo>
                    <a:pt x="48" y="128"/>
                  </a:lnTo>
                  <a:lnTo>
                    <a:pt x="80" y="112"/>
                  </a:lnTo>
                  <a:lnTo>
                    <a:pt x="80" y="96"/>
                  </a:lnTo>
                  <a:lnTo>
                    <a:pt x="72" y="80"/>
                  </a:lnTo>
                  <a:lnTo>
                    <a:pt x="96" y="80"/>
                  </a:lnTo>
                  <a:lnTo>
                    <a:pt x="112" y="64"/>
                  </a:lnTo>
                </a:path>
              </a:pathLst>
            </a:custGeom>
            <a:solidFill>
              <a:srgbClr val="FF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03" name="Freeform 12"/>
            <p:cNvSpPr/>
            <p:nvPr/>
          </p:nvSpPr>
          <p:spPr bwMode="auto">
            <a:xfrm>
              <a:off x="4081463" y="3289300"/>
              <a:ext cx="131762" cy="165100"/>
            </a:xfrm>
            <a:custGeom>
              <a:avLst/>
              <a:gdLst>
                <a:gd name="T0" fmla="*/ 88 w 89"/>
                <a:gd name="T1" fmla="*/ 80 h 121"/>
                <a:gd name="T2" fmla="*/ 80 w 89"/>
                <a:gd name="T3" fmla="*/ 56 h 121"/>
                <a:gd name="T4" fmla="*/ 56 w 89"/>
                <a:gd name="T5" fmla="*/ 40 h 121"/>
                <a:gd name="T6" fmla="*/ 48 w 89"/>
                <a:gd name="T7" fmla="*/ 8 h 121"/>
                <a:gd name="T8" fmla="*/ 32 w 89"/>
                <a:gd name="T9" fmla="*/ 0 h 121"/>
                <a:gd name="T10" fmla="*/ 24 w 89"/>
                <a:gd name="T11" fmla="*/ 8 h 121"/>
                <a:gd name="T12" fmla="*/ 32 w 89"/>
                <a:gd name="T13" fmla="*/ 48 h 121"/>
                <a:gd name="T14" fmla="*/ 8 w 89"/>
                <a:gd name="T15" fmla="*/ 48 h 121"/>
                <a:gd name="T16" fmla="*/ 0 w 89"/>
                <a:gd name="T17" fmla="*/ 112 h 121"/>
                <a:gd name="T18" fmla="*/ 16 w 89"/>
                <a:gd name="T19" fmla="*/ 120 h 121"/>
                <a:gd name="T20" fmla="*/ 56 w 89"/>
                <a:gd name="T21" fmla="*/ 112 h 121"/>
                <a:gd name="T22" fmla="*/ 56 w 89"/>
                <a:gd name="T23" fmla="*/ 80 h 121"/>
                <a:gd name="T24" fmla="*/ 88 w 89"/>
                <a:gd name="T25" fmla="*/ 80 h 121"/>
                <a:gd name="T26" fmla="*/ 0 w 89"/>
                <a:gd name="T27" fmla="*/ 0 h 121"/>
                <a:gd name="T28" fmla="*/ 89 w 89"/>
                <a:gd name="T2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T26" t="T27" r="T28" b="T29"/>
              <a:pathLst>
                <a:path w="89" h="121">
                  <a:moveTo>
                    <a:pt x="88" y="80"/>
                  </a:moveTo>
                  <a:lnTo>
                    <a:pt x="80" y="56"/>
                  </a:lnTo>
                  <a:lnTo>
                    <a:pt x="56" y="40"/>
                  </a:lnTo>
                  <a:lnTo>
                    <a:pt x="48" y="8"/>
                  </a:lnTo>
                  <a:lnTo>
                    <a:pt x="32" y="0"/>
                  </a:lnTo>
                  <a:lnTo>
                    <a:pt x="24" y="8"/>
                  </a:lnTo>
                  <a:lnTo>
                    <a:pt x="32" y="48"/>
                  </a:lnTo>
                  <a:lnTo>
                    <a:pt x="8" y="48"/>
                  </a:lnTo>
                  <a:lnTo>
                    <a:pt x="0" y="112"/>
                  </a:lnTo>
                  <a:lnTo>
                    <a:pt x="16" y="120"/>
                  </a:lnTo>
                  <a:lnTo>
                    <a:pt x="56" y="112"/>
                  </a:lnTo>
                  <a:lnTo>
                    <a:pt x="56" y="80"/>
                  </a:lnTo>
                  <a:lnTo>
                    <a:pt x="88" y="80"/>
                  </a:lnTo>
                </a:path>
              </a:pathLst>
            </a:custGeom>
            <a:solidFill>
              <a:srgbClr val="FF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04" name="Freeform 13"/>
            <p:cNvSpPr/>
            <p:nvPr/>
          </p:nvSpPr>
          <p:spPr bwMode="auto">
            <a:xfrm>
              <a:off x="4081463" y="3300413"/>
              <a:ext cx="50800" cy="55562"/>
            </a:xfrm>
            <a:custGeom>
              <a:avLst/>
              <a:gdLst>
                <a:gd name="T0" fmla="*/ 32 w 33"/>
                <a:gd name="T1" fmla="*/ 40 h 41"/>
                <a:gd name="T2" fmla="*/ 8 w 33"/>
                <a:gd name="T3" fmla="*/ 40 h 41"/>
                <a:gd name="T4" fmla="*/ 8 w 33"/>
                <a:gd name="T5" fmla="*/ 24 h 41"/>
                <a:gd name="T6" fmla="*/ 0 w 33"/>
                <a:gd name="T7" fmla="*/ 0 h 41"/>
                <a:gd name="T8" fmla="*/ 24 w 33"/>
                <a:gd name="T9" fmla="*/ 8 h 41"/>
                <a:gd name="T10" fmla="*/ 32 w 33"/>
                <a:gd name="T11" fmla="*/ 40 h 41"/>
                <a:gd name="T12" fmla="*/ 0 w 33"/>
                <a:gd name="T13" fmla="*/ 0 h 41"/>
                <a:gd name="T14" fmla="*/ 33 w 33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T12" t="T13" r="T14" b="T15"/>
              <a:pathLst>
                <a:path w="33" h="41">
                  <a:moveTo>
                    <a:pt x="32" y="40"/>
                  </a:moveTo>
                  <a:lnTo>
                    <a:pt x="8" y="40"/>
                  </a:lnTo>
                  <a:lnTo>
                    <a:pt x="8" y="24"/>
                  </a:lnTo>
                  <a:lnTo>
                    <a:pt x="0" y="0"/>
                  </a:lnTo>
                  <a:lnTo>
                    <a:pt x="24" y="8"/>
                  </a:lnTo>
                  <a:lnTo>
                    <a:pt x="32" y="40"/>
                  </a:lnTo>
                </a:path>
              </a:pathLst>
            </a:custGeom>
            <a:solidFill>
              <a:srgbClr val="7F7F7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05" name="Freeform 14"/>
            <p:cNvSpPr/>
            <p:nvPr/>
          </p:nvSpPr>
          <p:spPr bwMode="auto">
            <a:xfrm>
              <a:off x="3962400" y="3498850"/>
              <a:ext cx="646113" cy="398463"/>
            </a:xfrm>
            <a:custGeom>
              <a:avLst/>
              <a:gdLst>
                <a:gd name="T0" fmla="*/ 152 w 433"/>
                <a:gd name="T1" fmla="*/ 8 h 289"/>
                <a:gd name="T2" fmla="*/ 136 w 433"/>
                <a:gd name="T3" fmla="*/ 24 h 289"/>
                <a:gd name="T4" fmla="*/ 96 w 433"/>
                <a:gd name="T5" fmla="*/ 32 h 289"/>
                <a:gd name="T6" fmla="*/ 56 w 433"/>
                <a:gd name="T7" fmla="*/ 72 h 289"/>
                <a:gd name="T8" fmla="*/ 16 w 433"/>
                <a:gd name="T9" fmla="*/ 128 h 289"/>
                <a:gd name="T10" fmla="*/ 16 w 433"/>
                <a:gd name="T11" fmla="*/ 160 h 289"/>
                <a:gd name="T12" fmla="*/ 32 w 433"/>
                <a:gd name="T13" fmla="*/ 184 h 289"/>
                <a:gd name="T14" fmla="*/ 48 w 433"/>
                <a:gd name="T15" fmla="*/ 176 h 289"/>
                <a:gd name="T16" fmla="*/ 64 w 433"/>
                <a:gd name="T17" fmla="*/ 176 h 289"/>
                <a:gd name="T18" fmla="*/ 8 w 433"/>
                <a:gd name="T19" fmla="*/ 224 h 289"/>
                <a:gd name="T20" fmla="*/ 0 w 433"/>
                <a:gd name="T21" fmla="*/ 248 h 289"/>
                <a:gd name="T22" fmla="*/ 16 w 433"/>
                <a:gd name="T23" fmla="*/ 256 h 289"/>
                <a:gd name="T24" fmla="*/ 48 w 433"/>
                <a:gd name="T25" fmla="*/ 288 h 289"/>
                <a:gd name="T26" fmla="*/ 80 w 433"/>
                <a:gd name="T27" fmla="*/ 288 h 289"/>
                <a:gd name="T28" fmla="*/ 96 w 433"/>
                <a:gd name="T29" fmla="*/ 272 h 289"/>
                <a:gd name="T30" fmla="*/ 96 w 433"/>
                <a:gd name="T31" fmla="*/ 256 h 289"/>
                <a:gd name="T32" fmla="*/ 112 w 433"/>
                <a:gd name="T33" fmla="*/ 264 h 289"/>
                <a:gd name="T34" fmla="*/ 120 w 433"/>
                <a:gd name="T35" fmla="*/ 272 h 289"/>
                <a:gd name="T36" fmla="*/ 152 w 433"/>
                <a:gd name="T37" fmla="*/ 288 h 289"/>
                <a:gd name="T38" fmla="*/ 168 w 433"/>
                <a:gd name="T39" fmla="*/ 272 h 289"/>
                <a:gd name="T40" fmla="*/ 192 w 433"/>
                <a:gd name="T41" fmla="*/ 272 h 289"/>
                <a:gd name="T42" fmla="*/ 192 w 433"/>
                <a:gd name="T43" fmla="*/ 288 h 289"/>
                <a:gd name="T44" fmla="*/ 208 w 433"/>
                <a:gd name="T45" fmla="*/ 280 h 289"/>
                <a:gd name="T46" fmla="*/ 240 w 433"/>
                <a:gd name="T47" fmla="*/ 232 h 289"/>
                <a:gd name="T48" fmla="*/ 256 w 433"/>
                <a:gd name="T49" fmla="*/ 232 h 289"/>
                <a:gd name="T50" fmla="*/ 296 w 433"/>
                <a:gd name="T51" fmla="*/ 168 h 289"/>
                <a:gd name="T52" fmla="*/ 296 w 433"/>
                <a:gd name="T53" fmla="*/ 144 h 289"/>
                <a:gd name="T54" fmla="*/ 304 w 433"/>
                <a:gd name="T55" fmla="*/ 136 h 289"/>
                <a:gd name="T56" fmla="*/ 312 w 433"/>
                <a:gd name="T57" fmla="*/ 152 h 289"/>
                <a:gd name="T58" fmla="*/ 344 w 433"/>
                <a:gd name="T59" fmla="*/ 96 h 289"/>
                <a:gd name="T60" fmla="*/ 376 w 433"/>
                <a:gd name="T61" fmla="*/ 80 h 289"/>
                <a:gd name="T62" fmla="*/ 376 w 433"/>
                <a:gd name="T63" fmla="*/ 88 h 289"/>
                <a:gd name="T64" fmla="*/ 400 w 433"/>
                <a:gd name="T65" fmla="*/ 64 h 289"/>
                <a:gd name="T66" fmla="*/ 416 w 433"/>
                <a:gd name="T67" fmla="*/ 72 h 289"/>
                <a:gd name="T68" fmla="*/ 432 w 433"/>
                <a:gd name="T69" fmla="*/ 24 h 289"/>
                <a:gd name="T70" fmla="*/ 424 w 433"/>
                <a:gd name="T71" fmla="*/ 16 h 289"/>
                <a:gd name="T72" fmla="*/ 400 w 433"/>
                <a:gd name="T73" fmla="*/ 16 h 289"/>
                <a:gd name="T74" fmla="*/ 384 w 433"/>
                <a:gd name="T75" fmla="*/ 24 h 289"/>
                <a:gd name="T76" fmla="*/ 344 w 433"/>
                <a:gd name="T77" fmla="*/ 24 h 289"/>
                <a:gd name="T78" fmla="*/ 328 w 433"/>
                <a:gd name="T79" fmla="*/ 0 h 289"/>
                <a:gd name="T80" fmla="*/ 272 w 433"/>
                <a:gd name="T81" fmla="*/ 40 h 289"/>
                <a:gd name="T82" fmla="*/ 264 w 433"/>
                <a:gd name="T83" fmla="*/ 64 h 289"/>
                <a:gd name="T84" fmla="*/ 248 w 433"/>
                <a:gd name="T85" fmla="*/ 64 h 289"/>
                <a:gd name="T86" fmla="*/ 200 w 433"/>
                <a:gd name="T87" fmla="*/ 64 h 289"/>
                <a:gd name="T88" fmla="*/ 200 w 433"/>
                <a:gd name="T89" fmla="*/ 48 h 289"/>
                <a:gd name="T90" fmla="*/ 216 w 433"/>
                <a:gd name="T91" fmla="*/ 32 h 289"/>
                <a:gd name="T92" fmla="*/ 200 w 433"/>
                <a:gd name="T93" fmla="*/ 0 h 289"/>
                <a:gd name="T94" fmla="*/ 176 w 433"/>
                <a:gd name="T95" fmla="*/ 0 h 289"/>
                <a:gd name="T96" fmla="*/ 168 w 433"/>
                <a:gd name="T97" fmla="*/ 0 h 289"/>
                <a:gd name="T98" fmla="*/ 160 w 433"/>
                <a:gd name="T99" fmla="*/ 16 h 289"/>
                <a:gd name="T100" fmla="*/ 152 w 433"/>
                <a:gd name="T101" fmla="*/ 8 h 289"/>
                <a:gd name="T102" fmla="*/ 0 w 433"/>
                <a:gd name="T103" fmla="*/ 0 h 289"/>
                <a:gd name="T104" fmla="*/ 433 w 433"/>
                <a:gd name="T105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T102" t="T103" r="T104" b="T105"/>
              <a:pathLst>
                <a:path w="433" h="289">
                  <a:moveTo>
                    <a:pt x="152" y="8"/>
                  </a:moveTo>
                  <a:lnTo>
                    <a:pt x="136" y="24"/>
                  </a:lnTo>
                  <a:lnTo>
                    <a:pt x="96" y="32"/>
                  </a:lnTo>
                  <a:lnTo>
                    <a:pt x="56" y="72"/>
                  </a:lnTo>
                  <a:lnTo>
                    <a:pt x="16" y="128"/>
                  </a:lnTo>
                  <a:lnTo>
                    <a:pt x="16" y="160"/>
                  </a:lnTo>
                  <a:lnTo>
                    <a:pt x="32" y="184"/>
                  </a:lnTo>
                  <a:lnTo>
                    <a:pt x="48" y="176"/>
                  </a:lnTo>
                  <a:lnTo>
                    <a:pt x="64" y="176"/>
                  </a:lnTo>
                  <a:lnTo>
                    <a:pt x="8" y="224"/>
                  </a:lnTo>
                  <a:lnTo>
                    <a:pt x="0" y="248"/>
                  </a:lnTo>
                  <a:lnTo>
                    <a:pt x="16" y="256"/>
                  </a:lnTo>
                  <a:lnTo>
                    <a:pt x="48" y="288"/>
                  </a:lnTo>
                  <a:lnTo>
                    <a:pt x="80" y="288"/>
                  </a:lnTo>
                  <a:lnTo>
                    <a:pt x="96" y="272"/>
                  </a:lnTo>
                  <a:lnTo>
                    <a:pt x="96" y="256"/>
                  </a:lnTo>
                  <a:lnTo>
                    <a:pt x="112" y="264"/>
                  </a:lnTo>
                  <a:lnTo>
                    <a:pt x="120" y="272"/>
                  </a:lnTo>
                  <a:lnTo>
                    <a:pt x="152" y="288"/>
                  </a:lnTo>
                  <a:lnTo>
                    <a:pt x="168" y="272"/>
                  </a:lnTo>
                  <a:lnTo>
                    <a:pt x="192" y="272"/>
                  </a:lnTo>
                  <a:lnTo>
                    <a:pt x="192" y="288"/>
                  </a:lnTo>
                  <a:lnTo>
                    <a:pt x="208" y="280"/>
                  </a:lnTo>
                  <a:lnTo>
                    <a:pt x="240" y="232"/>
                  </a:lnTo>
                  <a:lnTo>
                    <a:pt x="256" y="232"/>
                  </a:lnTo>
                  <a:lnTo>
                    <a:pt x="296" y="168"/>
                  </a:lnTo>
                  <a:lnTo>
                    <a:pt x="296" y="144"/>
                  </a:lnTo>
                  <a:lnTo>
                    <a:pt x="304" y="136"/>
                  </a:lnTo>
                  <a:lnTo>
                    <a:pt x="312" y="152"/>
                  </a:lnTo>
                  <a:lnTo>
                    <a:pt x="344" y="96"/>
                  </a:lnTo>
                  <a:lnTo>
                    <a:pt x="376" y="80"/>
                  </a:lnTo>
                  <a:lnTo>
                    <a:pt x="376" y="88"/>
                  </a:lnTo>
                  <a:lnTo>
                    <a:pt x="400" y="64"/>
                  </a:lnTo>
                  <a:lnTo>
                    <a:pt x="416" y="72"/>
                  </a:lnTo>
                  <a:lnTo>
                    <a:pt x="432" y="24"/>
                  </a:lnTo>
                  <a:lnTo>
                    <a:pt x="424" y="16"/>
                  </a:lnTo>
                  <a:lnTo>
                    <a:pt x="400" y="16"/>
                  </a:lnTo>
                  <a:lnTo>
                    <a:pt x="384" y="24"/>
                  </a:lnTo>
                  <a:lnTo>
                    <a:pt x="344" y="24"/>
                  </a:lnTo>
                  <a:lnTo>
                    <a:pt x="328" y="0"/>
                  </a:lnTo>
                  <a:lnTo>
                    <a:pt x="272" y="40"/>
                  </a:lnTo>
                  <a:lnTo>
                    <a:pt x="264" y="64"/>
                  </a:lnTo>
                  <a:lnTo>
                    <a:pt x="248" y="64"/>
                  </a:lnTo>
                  <a:lnTo>
                    <a:pt x="200" y="64"/>
                  </a:lnTo>
                  <a:lnTo>
                    <a:pt x="200" y="48"/>
                  </a:lnTo>
                  <a:lnTo>
                    <a:pt x="216" y="32"/>
                  </a:lnTo>
                  <a:lnTo>
                    <a:pt x="200" y="0"/>
                  </a:lnTo>
                  <a:lnTo>
                    <a:pt x="176" y="0"/>
                  </a:lnTo>
                  <a:lnTo>
                    <a:pt x="168" y="0"/>
                  </a:lnTo>
                  <a:lnTo>
                    <a:pt x="160" y="16"/>
                  </a:lnTo>
                  <a:lnTo>
                    <a:pt x="152" y="8"/>
                  </a:lnTo>
                </a:path>
              </a:pathLst>
            </a:custGeom>
            <a:solidFill>
              <a:srgbClr val="FF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6" name="Freeform 15"/>
            <p:cNvSpPr/>
            <p:nvPr/>
          </p:nvSpPr>
          <p:spPr bwMode="auto">
            <a:xfrm>
              <a:off x="4095750" y="3817938"/>
              <a:ext cx="534988" cy="439737"/>
            </a:xfrm>
            <a:custGeom>
              <a:avLst/>
              <a:gdLst>
                <a:gd name="T0" fmla="*/ 168 w 361"/>
                <a:gd name="T1" fmla="*/ 0 h 321"/>
                <a:gd name="T2" fmla="*/ 152 w 361"/>
                <a:gd name="T3" fmla="*/ 0 h 321"/>
                <a:gd name="T4" fmla="*/ 120 w 361"/>
                <a:gd name="T5" fmla="*/ 48 h 321"/>
                <a:gd name="T6" fmla="*/ 96 w 361"/>
                <a:gd name="T7" fmla="*/ 56 h 321"/>
                <a:gd name="T8" fmla="*/ 96 w 361"/>
                <a:gd name="T9" fmla="*/ 40 h 321"/>
                <a:gd name="T10" fmla="*/ 80 w 361"/>
                <a:gd name="T11" fmla="*/ 40 h 321"/>
                <a:gd name="T12" fmla="*/ 64 w 361"/>
                <a:gd name="T13" fmla="*/ 56 h 321"/>
                <a:gd name="T14" fmla="*/ 32 w 361"/>
                <a:gd name="T15" fmla="*/ 40 h 321"/>
                <a:gd name="T16" fmla="*/ 24 w 361"/>
                <a:gd name="T17" fmla="*/ 32 h 321"/>
                <a:gd name="T18" fmla="*/ 8 w 361"/>
                <a:gd name="T19" fmla="*/ 24 h 321"/>
                <a:gd name="T20" fmla="*/ 8 w 361"/>
                <a:gd name="T21" fmla="*/ 40 h 321"/>
                <a:gd name="T22" fmla="*/ 0 w 361"/>
                <a:gd name="T23" fmla="*/ 48 h 321"/>
                <a:gd name="T24" fmla="*/ 32 w 361"/>
                <a:gd name="T25" fmla="*/ 56 h 321"/>
                <a:gd name="T26" fmla="*/ 40 w 361"/>
                <a:gd name="T27" fmla="*/ 80 h 321"/>
                <a:gd name="T28" fmla="*/ 56 w 361"/>
                <a:gd name="T29" fmla="*/ 80 h 321"/>
                <a:gd name="T30" fmla="*/ 80 w 361"/>
                <a:gd name="T31" fmla="*/ 112 h 321"/>
                <a:gd name="T32" fmla="*/ 104 w 361"/>
                <a:gd name="T33" fmla="*/ 104 h 321"/>
                <a:gd name="T34" fmla="*/ 104 w 361"/>
                <a:gd name="T35" fmla="*/ 144 h 321"/>
                <a:gd name="T36" fmla="*/ 136 w 361"/>
                <a:gd name="T37" fmla="*/ 184 h 321"/>
                <a:gd name="T38" fmla="*/ 152 w 361"/>
                <a:gd name="T39" fmla="*/ 184 h 321"/>
                <a:gd name="T40" fmla="*/ 160 w 361"/>
                <a:gd name="T41" fmla="*/ 168 h 321"/>
                <a:gd name="T42" fmla="*/ 184 w 361"/>
                <a:gd name="T43" fmla="*/ 192 h 321"/>
                <a:gd name="T44" fmla="*/ 168 w 361"/>
                <a:gd name="T45" fmla="*/ 208 h 321"/>
                <a:gd name="T46" fmla="*/ 160 w 361"/>
                <a:gd name="T47" fmla="*/ 200 h 321"/>
                <a:gd name="T48" fmla="*/ 144 w 361"/>
                <a:gd name="T49" fmla="*/ 192 h 321"/>
                <a:gd name="T50" fmla="*/ 144 w 361"/>
                <a:gd name="T51" fmla="*/ 224 h 321"/>
                <a:gd name="T52" fmla="*/ 136 w 361"/>
                <a:gd name="T53" fmla="*/ 240 h 321"/>
                <a:gd name="T54" fmla="*/ 160 w 361"/>
                <a:gd name="T55" fmla="*/ 272 h 321"/>
                <a:gd name="T56" fmla="*/ 160 w 361"/>
                <a:gd name="T57" fmla="*/ 296 h 321"/>
                <a:gd name="T58" fmla="*/ 200 w 361"/>
                <a:gd name="T59" fmla="*/ 296 h 321"/>
                <a:gd name="T60" fmla="*/ 216 w 361"/>
                <a:gd name="T61" fmla="*/ 312 h 321"/>
                <a:gd name="T62" fmla="*/ 240 w 361"/>
                <a:gd name="T63" fmla="*/ 304 h 321"/>
                <a:gd name="T64" fmla="*/ 272 w 361"/>
                <a:gd name="T65" fmla="*/ 320 h 321"/>
                <a:gd name="T66" fmla="*/ 296 w 361"/>
                <a:gd name="T67" fmla="*/ 296 h 321"/>
                <a:gd name="T68" fmla="*/ 320 w 361"/>
                <a:gd name="T69" fmla="*/ 256 h 321"/>
                <a:gd name="T70" fmla="*/ 288 w 361"/>
                <a:gd name="T71" fmla="*/ 240 h 321"/>
                <a:gd name="T72" fmla="*/ 320 w 361"/>
                <a:gd name="T73" fmla="*/ 232 h 321"/>
                <a:gd name="T74" fmla="*/ 328 w 361"/>
                <a:gd name="T75" fmla="*/ 240 h 321"/>
                <a:gd name="T76" fmla="*/ 360 w 361"/>
                <a:gd name="T77" fmla="*/ 232 h 321"/>
                <a:gd name="T78" fmla="*/ 360 w 361"/>
                <a:gd name="T79" fmla="*/ 224 h 321"/>
                <a:gd name="T80" fmla="*/ 320 w 361"/>
                <a:gd name="T81" fmla="*/ 200 h 321"/>
                <a:gd name="T82" fmla="*/ 320 w 361"/>
                <a:gd name="T83" fmla="*/ 184 h 321"/>
                <a:gd name="T84" fmla="*/ 304 w 361"/>
                <a:gd name="T85" fmla="*/ 176 h 321"/>
                <a:gd name="T86" fmla="*/ 288 w 361"/>
                <a:gd name="T87" fmla="*/ 168 h 321"/>
                <a:gd name="T88" fmla="*/ 272 w 361"/>
                <a:gd name="T89" fmla="*/ 128 h 321"/>
                <a:gd name="T90" fmla="*/ 232 w 361"/>
                <a:gd name="T91" fmla="*/ 64 h 321"/>
                <a:gd name="T92" fmla="*/ 232 w 361"/>
                <a:gd name="T93" fmla="*/ 40 h 321"/>
                <a:gd name="T94" fmla="*/ 192 w 361"/>
                <a:gd name="T95" fmla="*/ 32 h 321"/>
                <a:gd name="T96" fmla="*/ 176 w 361"/>
                <a:gd name="T97" fmla="*/ 24 h 321"/>
                <a:gd name="T98" fmla="*/ 168 w 361"/>
                <a:gd name="T99" fmla="*/ 0 h 321"/>
                <a:gd name="T100" fmla="*/ 0 w 361"/>
                <a:gd name="T101" fmla="*/ 0 h 321"/>
                <a:gd name="T102" fmla="*/ 361 w 361"/>
                <a:gd name="T103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T100" t="T101" r="T102" b="T103"/>
              <a:pathLst>
                <a:path w="361" h="321">
                  <a:moveTo>
                    <a:pt x="168" y="0"/>
                  </a:moveTo>
                  <a:lnTo>
                    <a:pt x="152" y="0"/>
                  </a:lnTo>
                  <a:lnTo>
                    <a:pt x="120" y="48"/>
                  </a:lnTo>
                  <a:lnTo>
                    <a:pt x="96" y="56"/>
                  </a:lnTo>
                  <a:lnTo>
                    <a:pt x="96" y="40"/>
                  </a:lnTo>
                  <a:lnTo>
                    <a:pt x="80" y="40"/>
                  </a:lnTo>
                  <a:lnTo>
                    <a:pt x="64" y="56"/>
                  </a:lnTo>
                  <a:lnTo>
                    <a:pt x="32" y="40"/>
                  </a:lnTo>
                  <a:lnTo>
                    <a:pt x="24" y="32"/>
                  </a:lnTo>
                  <a:lnTo>
                    <a:pt x="8" y="24"/>
                  </a:lnTo>
                  <a:lnTo>
                    <a:pt x="8" y="40"/>
                  </a:lnTo>
                  <a:lnTo>
                    <a:pt x="0" y="48"/>
                  </a:lnTo>
                  <a:lnTo>
                    <a:pt x="32" y="56"/>
                  </a:lnTo>
                  <a:lnTo>
                    <a:pt x="40" y="80"/>
                  </a:lnTo>
                  <a:lnTo>
                    <a:pt x="56" y="80"/>
                  </a:lnTo>
                  <a:lnTo>
                    <a:pt x="80" y="112"/>
                  </a:lnTo>
                  <a:lnTo>
                    <a:pt x="104" y="104"/>
                  </a:lnTo>
                  <a:lnTo>
                    <a:pt x="104" y="144"/>
                  </a:lnTo>
                  <a:lnTo>
                    <a:pt x="136" y="184"/>
                  </a:lnTo>
                  <a:lnTo>
                    <a:pt x="152" y="184"/>
                  </a:lnTo>
                  <a:lnTo>
                    <a:pt x="160" y="168"/>
                  </a:lnTo>
                  <a:lnTo>
                    <a:pt x="184" y="192"/>
                  </a:lnTo>
                  <a:lnTo>
                    <a:pt x="168" y="208"/>
                  </a:lnTo>
                  <a:lnTo>
                    <a:pt x="160" y="200"/>
                  </a:lnTo>
                  <a:lnTo>
                    <a:pt x="144" y="192"/>
                  </a:lnTo>
                  <a:lnTo>
                    <a:pt x="144" y="224"/>
                  </a:lnTo>
                  <a:lnTo>
                    <a:pt x="136" y="240"/>
                  </a:lnTo>
                  <a:lnTo>
                    <a:pt x="160" y="272"/>
                  </a:lnTo>
                  <a:lnTo>
                    <a:pt x="160" y="296"/>
                  </a:lnTo>
                  <a:lnTo>
                    <a:pt x="200" y="296"/>
                  </a:lnTo>
                  <a:lnTo>
                    <a:pt x="216" y="312"/>
                  </a:lnTo>
                  <a:lnTo>
                    <a:pt x="240" y="304"/>
                  </a:lnTo>
                  <a:lnTo>
                    <a:pt x="272" y="320"/>
                  </a:lnTo>
                  <a:lnTo>
                    <a:pt x="296" y="296"/>
                  </a:lnTo>
                  <a:lnTo>
                    <a:pt x="320" y="256"/>
                  </a:lnTo>
                  <a:lnTo>
                    <a:pt x="288" y="240"/>
                  </a:lnTo>
                  <a:lnTo>
                    <a:pt x="320" y="232"/>
                  </a:lnTo>
                  <a:lnTo>
                    <a:pt x="328" y="240"/>
                  </a:lnTo>
                  <a:lnTo>
                    <a:pt x="360" y="232"/>
                  </a:lnTo>
                  <a:lnTo>
                    <a:pt x="360" y="224"/>
                  </a:lnTo>
                  <a:lnTo>
                    <a:pt x="320" y="200"/>
                  </a:lnTo>
                  <a:lnTo>
                    <a:pt x="320" y="184"/>
                  </a:lnTo>
                  <a:lnTo>
                    <a:pt x="304" y="176"/>
                  </a:lnTo>
                  <a:lnTo>
                    <a:pt x="288" y="168"/>
                  </a:lnTo>
                  <a:lnTo>
                    <a:pt x="272" y="128"/>
                  </a:lnTo>
                  <a:lnTo>
                    <a:pt x="232" y="64"/>
                  </a:lnTo>
                  <a:lnTo>
                    <a:pt x="232" y="40"/>
                  </a:lnTo>
                  <a:lnTo>
                    <a:pt x="192" y="32"/>
                  </a:lnTo>
                  <a:lnTo>
                    <a:pt x="176" y="24"/>
                  </a:lnTo>
                  <a:lnTo>
                    <a:pt x="168" y="0"/>
                  </a:lnTo>
                </a:path>
              </a:pathLst>
            </a:custGeom>
            <a:solidFill>
              <a:srgbClr val="7030A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07" name="Freeform 16"/>
            <p:cNvSpPr/>
            <p:nvPr/>
          </p:nvSpPr>
          <p:spPr bwMode="auto">
            <a:xfrm>
              <a:off x="4535488" y="4170363"/>
              <a:ext cx="95250" cy="74612"/>
            </a:xfrm>
            <a:custGeom>
              <a:avLst/>
              <a:gdLst>
                <a:gd name="T0" fmla="*/ 24 w 65"/>
                <a:gd name="T1" fmla="*/ 0 h 57"/>
                <a:gd name="T2" fmla="*/ 0 w 65"/>
                <a:gd name="T3" fmla="*/ 40 h 57"/>
                <a:gd name="T4" fmla="*/ 24 w 65"/>
                <a:gd name="T5" fmla="*/ 56 h 57"/>
                <a:gd name="T6" fmla="*/ 64 w 65"/>
                <a:gd name="T7" fmla="*/ 40 h 57"/>
                <a:gd name="T8" fmla="*/ 64 w 65"/>
                <a:gd name="T9" fmla="*/ 24 h 57"/>
                <a:gd name="T10" fmla="*/ 24 w 65"/>
                <a:gd name="T11" fmla="*/ 0 h 57"/>
                <a:gd name="T12" fmla="*/ 0 w 65"/>
                <a:gd name="T13" fmla="*/ 0 h 57"/>
                <a:gd name="T14" fmla="*/ 65 w 65"/>
                <a:gd name="T1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T12" t="T13" r="T14" b="T15"/>
              <a:pathLst>
                <a:path w="65" h="57">
                  <a:moveTo>
                    <a:pt x="24" y="0"/>
                  </a:moveTo>
                  <a:lnTo>
                    <a:pt x="0" y="40"/>
                  </a:lnTo>
                  <a:lnTo>
                    <a:pt x="24" y="56"/>
                  </a:lnTo>
                  <a:lnTo>
                    <a:pt x="64" y="40"/>
                  </a:lnTo>
                  <a:lnTo>
                    <a:pt x="64" y="24"/>
                  </a:lnTo>
                  <a:lnTo>
                    <a:pt x="24" y="0"/>
                  </a:lnTo>
                </a:path>
              </a:pathLst>
            </a:custGeom>
            <a:solidFill>
              <a:srgbClr val="7030A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08" name="Freeform 17"/>
            <p:cNvSpPr/>
            <p:nvPr/>
          </p:nvSpPr>
          <p:spPr bwMode="auto">
            <a:xfrm>
              <a:off x="4297363" y="4222750"/>
              <a:ext cx="357187" cy="409575"/>
            </a:xfrm>
            <a:custGeom>
              <a:avLst/>
              <a:gdLst>
                <a:gd name="T0" fmla="*/ 184 w 241"/>
                <a:gd name="T1" fmla="*/ 16 h 297"/>
                <a:gd name="T2" fmla="*/ 160 w 241"/>
                <a:gd name="T3" fmla="*/ 0 h 297"/>
                <a:gd name="T4" fmla="*/ 136 w 241"/>
                <a:gd name="T5" fmla="*/ 24 h 297"/>
                <a:gd name="T6" fmla="*/ 104 w 241"/>
                <a:gd name="T7" fmla="*/ 8 h 297"/>
                <a:gd name="T8" fmla="*/ 80 w 241"/>
                <a:gd name="T9" fmla="*/ 16 h 297"/>
                <a:gd name="T10" fmla="*/ 72 w 241"/>
                <a:gd name="T11" fmla="*/ 32 h 297"/>
                <a:gd name="T12" fmla="*/ 64 w 241"/>
                <a:gd name="T13" fmla="*/ 48 h 297"/>
                <a:gd name="T14" fmla="*/ 72 w 241"/>
                <a:gd name="T15" fmla="*/ 72 h 297"/>
                <a:gd name="T16" fmla="*/ 56 w 241"/>
                <a:gd name="T17" fmla="*/ 72 h 297"/>
                <a:gd name="T18" fmla="*/ 48 w 241"/>
                <a:gd name="T19" fmla="*/ 64 h 297"/>
                <a:gd name="T20" fmla="*/ 40 w 241"/>
                <a:gd name="T21" fmla="*/ 64 h 297"/>
                <a:gd name="T22" fmla="*/ 40 w 241"/>
                <a:gd name="T23" fmla="*/ 80 h 297"/>
                <a:gd name="T24" fmla="*/ 40 w 241"/>
                <a:gd name="T25" fmla="*/ 96 h 297"/>
                <a:gd name="T26" fmla="*/ 40 w 241"/>
                <a:gd name="T27" fmla="*/ 96 h 297"/>
                <a:gd name="T28" fmla="*/ 40 w 241"/>
                <a:gd name="T29" fmla="*/ 112 h 297"/>
                <a:gd name="T30" fmla="*/ 8 w 241"/>
                <a:gd name="T31" fmla="*/ 136 h 297"/>
                <a:gd name="T32" fmla="*/ 0 w 241"/>
                <a:gd name="T33" fmla="*/ 144 h 297"/>
                <a:gd name="T34" fmla="*/ 0 w 241"/>
                <a:gd name="T35" fmla="*/ 176 h 297"/>
                <a:gd name="T36" fmla="*/ 24 w 241"/>
                <a:gd name="T37" fmla="*/ 192 h 297"/>
                <a:gd name="T38" fmla="*/ 24 w 241"/>
                <a:gd name="T39" fmla="*/ 232 h 297"/>
                <a:gd name="T40" fmla="*/ 48 w 241"/>
                <a:gd name="T41" fmla="*/ 232 h 297"/>
                <a:gd name="T42" fmla="*/ 48 w 241"/>
                <a:gd name="T43" fmla="*/ 248 h 297"/>
                <a:gd name="T44" fmla="*/ 56 w 241"/>
                <a:gd name="T45" fmla="*/ 264 h 297"/>
                <a:gd name="T46" fmla="*/ 64 w 241"/>
                <a:gd name="T47" fmla="*/ 288 h 297"/>
                <a:gd name="T48" fmla="*/ 88 w 241"/>
                <a:gd name="T49" fmla="*/ 288 h 297"/>
                <a:gd name="T50" fmla="*/ 104 w 241"/>
                <a:gd name="T51" fmla="*/ 264 h 297"/>
                <a:gd name="T52" fmla="*/ 112 w 241"/>
                <a:gd name="T53" fmla="*/ 264 h 297"/>
                <a:gd name="T54" fmla="*/ 112 w 241"/>
                <a:gd name="T55" fmla="*/ 280 h 297"/>
                <a:gd name="T56" fmla="*/ 120 w 241"/>
                <a:gd name="T57" fmla="*/ 288 h 297"/>
                <a:gd name="T58" fmla="*/ 136 w 241"/>
                <a:gd name="T59" fmla="*/ 288 h 297"/>
                <a:gd name="T60" fmla="*/ 136 w 241"/>
                <a:gd name="T61" fmla="*/ 280 h 297"/>
                <a:gd name="T62" fmla="*/ 152 w 241"/>
                <a:gd name="T63" fmla="*/ 280 h 297"/>
                <a:gd name="T64" fmla="*/ 152 w 241"/>
                <a:gd name="T65" fmla="*/ 288 h 297"/>
                <a:gd name="T66" fmla="*/ 160 w 241"/>
                <a:gd name="T67" fmla="*/ 296 h 297"/>
                <a:gd name="T68" fmla="*/ 176 w 241"/>
                <a:gd name="T69" fmla="*/ 288 h 297"/>
                <a:gd name="T70" fmla="*/ 184 w 241"/>
                <a:gd name="T71" fmla="*/ 256 h 297"/>
                <a:gd name="T72" fmla="*/ 184 w 241"/>
                <a:gd name="T73" fmla="*/ 224 h 297"/>
                <a:gd name="T74" fmla="*/ 200 w 241"/>
                <a:gd name="T75" fmla="*/ 224 h 297"/>
                <a:gd name="T76" fmla="*/ 200 w 241"/>
                <a:gd name="T77" fmla="*/ 216 h 297"/>
                <a:gd name="T78" fmla="*/ 200 w 241"/>
                <a:gd name="T79" fmla="*/ 200 h 297"/>
                <a:gd name="T80" fmla="*/ 216 w 241"/>
                <a:gd name="T81" fmla="*/ 216 h 297"/>
                <a:gd name="T82" fmla="*/ 232 w 241"/>
                <a:gd name="T83" fmla="*/ 192 h 297"/>
                <a:gd name="T84" fmla="*/ 216 w 241"/>
                <a:gd name="T85" fmla="*/ 176 h 297"/>
                <a:gd name="T86" fmla="*/ 216 w 241"/>
                <a:gd name="T87" fmla="*/ 168 h 297"/>
                <a:gd name="T88" fmla="*/ 232 w 241"/>
                <a:gd name="T89" fmla="*/ 160 h 297"/>
                <a:gd name="T90" fmla="*/ 224 w 241"/>
                <a:gd name="T91" fmla="*/ 136 h 297"/>
                <a:gd name="T92" fmla="*/ 216 w 241"/>
                <a:gd name="T93" fmla="*/ 128 h 297"/>
                <a:gd name="T94" fmla="*/ 240 w 241"/>
                <a:gd name="T95" fmla="*/ 136 h 297"/>
                <a:gd name="T96" fmla="*/ 240 w 241"/>
                <a:gd name="T97" fmla="*/ 104 h 297"/>
                <a:gd name="T98" fmla="*/ 216 w 241"/>
                <a:gd name="T99" fmla="*/ 120 h 297"/>
                <a:gd name="T100" fmla="*/ 240 w 241"/>
                <a:gd name="T101" fmla="*/ 80 h 297"/>
                <a:gd name="T102" fmla="*/ 200 w 241"/>
                <a:gd name="T103" fmla="*/ 56 h 297"/>
                <a:gd name="T104" fmla="*/ 176 w 241"/>
                <a:gd name="T105" fmla="*/ 56 h 297"/>
                <a:gd name="T106" fmla="*/ 160 w 241"/>
                <a:gd name="T107" fmla="*/ 72 h 297"/>
                <a:gd name="T108" fmla="*/ 152 w 241"/>
                <a:gd name="T109" fmla="*/ 48 h 297"/>
                <a:gd name="T110" fmla="*/ 160 w 241"/>
                <a:gd name="T111" fmla="*/ 40 h 297"/>
                <a:gd name="T112" fmla="*/ 184 w 241"/>
                <a:gd name="T113" fmla="*/ 16 h 297"/>
                <a:gd name="T114" fmla="*/ 0 w 241"/>
                <a:gd name="T115" fmla="*/ 0 h 297"/>
                <a:gd name="T116" fmla="*/ 241 w 241"/>
                <a:gd name="T117" fmla="*/ 297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T114" t="T115" r="T116" b="T117"/>
              <a:pathLst>
                <a:path w="241" h="297">
                  <a:moveTo>
                    <a:pt x="184" y="16"/>
                  </a:moveTo>
                  <a:lnTo>
                    <a:pt x="160" y="0"/>
                  </a:lnTo>
                  <a:lnTo>
                    <a:pt x="136" y="24"/>
                  </a:lnTo>
                  <a:lnTo>
                    <a:pt x="104" y="8"/>
                  </a:lnTo>
                  <a:lnTo>
                    <a:pt x="80" y="16"/>
                  </a:lnTo>
                  <a:lnTo>
                    <a:pt x="72" y="32"/>
                  </a:lnTo>
                  <a:lnTo>
                    <a:pt x="64" y="48"/>
                  </a:lnTo>
                  <a:lnTo>
                    <a:pt x="72" y="72"/>
                  </a:lnTo>
                  <a:lnTo>
                    <a:pt x="56" y="72"/>
                  </a:lnTo>
                  <a:lnTo>
                    <a:pt x="48" y="64"/>
                  </a:lnTo>
                  <a:lnTo>
                    <a:pt x="40" y="64"/>
                  </a:lnTo>
                  <a:lnTo>
                    <a:pt x="40" y="80"/>
                  </a:lnTo>
                  <a:lnTo>
                    <a:pt x="40" y="96"/>
                  </a:lnTo>
                  <a:lnTo>
                    <a:pt x="40" y="112"/>
                  </a:lnTo>
                  <a:lnTo>
                    <a:pt x="8" y="136"/>
                  </a:lnTo>
                  <a:lnTo>
                    <a:pt x="0" y="144"/>
                  </a:lnTo>
                  <a:lnTo>
                    <a:pt x="0" y="176"/>
                  </a:lnTo>
                  <a:lnTo>
                    <a:pt x="24" y="192"/>
                  </a:lnTo>
                  <a:lnTo>
                    <a:pt x="24" y="232"/>
                  </a:lnTo>
                  <a:lnTo>
                    <a:pt x="48" y="232"/>
                  </a:lnTo>
                  <a:lnTo>
                    <a:pt x="48" y="248"/>
                  </a:lnTo>
                  <a:lnTo>
                    <a:pt x="56" y="264"/>
                  </a:lnTo>
                  <a:lnTo>
                    <a:pt x="64" y="288"/>
                  </a:lnTo>
                  <a:lnTo>
                    <a:pt x="88" y="288"/>
                  </a:lnTo>
                  <a:lnTo>
                    <a:pt x="104" y="264"/>
                  </a:lnTo>
                  <a:lnTo>
                    <a:pt x="112" y="264"/>
                  </a:lnTo>
                  <a:lnTo>
                    <a:pt x="112" y="280"/>
                  </a:lnTo>
                  <a:lnTo>
                    <a:pt x="120" y="288"/>
                  </a:lnTo>
                  <a:lnTo>
                    <a:pt x="136" y="288"/>
                  </a:lnTo>
                  <a:lnTo>
                    <a:pt x="136" y="280"/>
                  </a:lnTo>
                  <a:lnTo>
                    <a:pt x="152" y="280"/>
                  </a:lnTo>
                  <a:lnTo>
                    <a:pt x="152" y="288"/>
                  </a:lnTo>
                  <a:lnTo>
                    <a:pt x="160" y="296"/>
                  </a:lnTo>
                  <a:lnTo>
                    <a:pt x="176" y="288"/>
                  </a:lnTo>
                  <a:lnTo>
                    <a:pt x="184" y="256"/>
                  </a:lnTo>
                  <a:lnTo>
                    <a:pt x="184" y="224"/>
                  </a:lnTo>
                  <a:lnTo>
                    <a:pt x="200" y="224"/>
                  </a:lnTo>
                  <a:lnTo>
                    <a:pt x="200" y="216"/>
                  </a:lnTo>
                  <a:lnTo>
                    <a:pt x="200" y="200"/>
                  </a:lnTo>
                  <a:lnTo>
                    <a:pt x="216" y="216"/>
                  </a:lnTo>
                  <a:lnTo>
                    <a:pt x="232" y="192"/>
                  </a:lnTo>
                  <a:lnTo>
                    <a:pt x="216" y="176"/>
                  </a:lnTo>
                  <a:lnTo>
                    <a:pt x="216" y="168"/>
                  </a:lnTo>
                  <a:lnTo>
                    <a:pt x="232" y="160"/>
                  </a:lnTo>
                  <a:lnTo>
                    <a:pt x="224" y="136"/>
                  </a:lnTo>
                  <a:lnTo>
                    <a:pt x="216" y="128"/>
                  </a:lnTo>
                  <a:lnTo>
                    <a:pt x="240" y="136"/>
                  </a:lnTo>
                  <a:lnTo>
                    <a:pt x="240" y="104"/>
                  </a:lnTo>
                  <a:lnTo>
                    <a:pt x="216" y="120"/>
                  </a:lnTo>
                  <a:lnTo>
                    <a:pt x="240" y="80"/>
                  </a:lnTo>
                  <a:lnTo>
                    <a:pt x="200" y="56"/>
                  </a:lnTo>
                  <a:lnTo>
                    <a:pt x="176" y="56"/>
                  </a:lnTo>
                  <a:lnTo>
                    <a:pt x="160" y="72"/>
                  </a:lnTo>
                  <a:lnTo>
                    <a:pt x="152" y="48"/>
                  </a:lnTo>
                  <a:lnTo>
                    <a:pt x="160" y="40"/>
                  </a:lnTo>
                  <a:lnTo>
                    <a:pt x="184" y="16"/>
                  </a:lnTo>
                </a:path>
              </a:pathLst>
            </a:custGeom>
            <a:solidFill>
              <a:srgbClr val="7030A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09" name="Freeform 18"/>
            <p:cNvSpPr/>
            <p:nvPr/>
          </p:nvSpPr>
          <p:spPr bwMode="auto">
            <a:xfrm>
              <a:off x="4117975" y="4543425"/>
              <a:ext cx="406400" cy="508000"/>
            </a:xfrm>
            <a:custGeom>
              <a:avLst/>
              <a:gdLst>
                <a:gd name="T0" fmla="*/ 272 w 273"/>
                <a:gd name="T1" fmla="*/ 56 h 369"/>
                <a:gd name="T2" fmla="*/ 272 w 273"/>
                <a:gd name="T3" fmla="*/ 48 h 369"/>
                <a:gd name="T4" fmla="*/ 256 w 273"/>
                <a:gd name="T5" fmla="*/ 48 h 369"/>
                <a:gd name="T6" fmla="*/ 256 w 273"/>
                <a:gd name="T7" fmla="*/ 56 h 369"/>
                <a:gd name="T8" fmla="*/ 240 w 273"/>
                <a:gd name="T9" fmla="*/ 56 h 369"/>
                <a:gd name="T10" fmla="*/ 232 w 273"/>
                <a:gd name="T11" fmla="*/ 56 h 369"/>
                <a:gd name="T12" fmla="*/ 232 w 273"/>
                <a:gd name="T13" fmla="*/ 32 h 369"/>
                <a:gd name="T14" fmla="*/ 224 w 273"/>
                <a:gd name="T15" fmla="*/ 32 h 369"/>
                <a:gd name="T16" fmla="*/ 208 w 273"/>
                <a:gd name="T17" fmla="*/ 56 h 369"/>
                <a:gd name="T18" fmla="*/ 184 w 273"/>
                <a:gd name="T19" fmla="*/ 56 h 369"/>
                <a:gd name="T20" fmla="*/ 176 w 273"/>
                <a:gd name="T21" fmla="*/ 32 h 369"/>
                <a:gd name="T22" fmla="*/ 168 w 273"/>
                <a:gd name="T23" fmla="*/ 16 h 369"/>
                <a:gd name="T24" fmla="*/ 160 w 273"/>
                <a:gd name="T25" fmla="*/ 0 h 369"/>
                <a:gd name="T26" fmla="*/ 144 w 273"/>
                <a:gd name="T27" fmla="*/ 0 h 369"/>
                <a:gd name="T28" fmla="*/ 144 w 273"/>
                <a:gd name="T29" fmla="*/ 8 h 369"/>
                <a:gd name="T30" fmla="*/ 112 w 273"/>
                <a:gd name="T31" fmla="*/ 16 h 369"/>
                <a:gd name="T32" fmla="*/ 112 w 273"/>
                <a:gd name="T33" fmla="*/ 32 h 369"/>
                <a:gd name="T34" fmla="*/ 80 w 273"/>
                <a:gd name="T35" fmla="*/ 32 h 369"/>
                <a:gd name="T36" fmla="*/ 64 w 273"/>
                <a:gd name="T37" fmla="*/ 48 h 369"/>
                <a:gd name="T38" fmla="*/ 64 w 273"/>
                <a:gd name="T39" fmla="*/ 72 h 369"/>
                <a:gd name="T40" fmla="*/ 72 w 273"/>
                <a:gd name="T41" fmla="*/ 88 h 369"/>
                <a:gd name="T42" fmla="*/ 48 w 273"/>
                <a:gd name="T43" fmla="*/ 112 h 369"/>
                <a:gd name="T44" fmla="*/ 40 w 273"/>
                <a:gd name="T45" fmla="*/ 112 h 369"/>
                <a:gd name="T46" fmla="*/ 32 w 273"/>
                <a:gd name="T47" fmla="*/ 144 h 369"/>
                <a:gd name="T48" fmla="*/ 32 w 273"/>
                <a:gd name="T49" fmla="*/ 160 h 369"/>
                <a:gd name="T50" fmla="*/ 32 w 273"/>
                <a:gd name="T51" fmla="*/ 176 h 369"/>
                <a:gd name="T52" fmla="*/ 16 w 273"/>
                <a:gd name="T53" fmla="*/ 200 h 369"/>
                <a:gd name="T54" fmla="*/ 8 w 273"/>
                <a:gd name="T55" fmla="*/ 216 h 369"/>
                <a:gd name="T56" fmla="*/ 0 w 273"/>
                <a:gd name="T57" fmla="*/ 256 h 369"/>
                <a:gd name="T58" fmla="*/ 8 w 273"/>
                <a:gd name="T59" fmla="*/ 272 h 369"/>
                <a:gd name="T60" fmla="*/ 56 w 273"/>
                <a:gd name="T61" fmla="*/ 272 h 369"/>
                <a:gd name="T62" fmla="*/ 80 w 273"/>
                <a:gd name="T63" fmla="*/ 328 h 369"/>
                <a:gd name="T64" fmla="*/ 88 w 273"/>
                <a:gd name="T65" fmla="*/ 368 h 369"/>
                <a:gd name="T66" fmla="*/ 112 w 273"/>
                <a:gd name="T67" fmla="*/ 328 h 369"/>
                <a:gd name="T68" fmla="*/ 120 w 273"/>
                <a:gd name="T69" fmla="*/ 336 h 369"/>
                <a:gd name="T70" fmla="*/ 152 w 273"/>
                <a:gd name="T71" fmla="*/ 304 h 369"/>
                <a:gd name="T72" fmla="*/ 152 w 273"/>
                <a:gd name="T73" fmla="*/ 280 h 369"/>
                <a:gd name="T74" fmla="*/ 184 w 273"/>
                <a:gd name="T75" fmla="*/ 272 h 369"/>
                <a:gd name="T76" fmla="*/ 200 w 273"/>
                <a:gd name="T77" fmla="*/ 232 h 369"/>
                <a:gd name="T78" fmla="*/ 216 w 273"/>
                <a:gd name="T79" fmla="*/ 224 h 369"/>
                <a:gd name="T80" fmla="*/ 216 w 273"/>
                <a:gd name="T81" fmla="*/ 200 h 369"/>
                <a:gd name="T82" fmla="*/ 240 w 273"/>
                <a:gd name="T83" fmla="*/ 200 h 369"/>
                <a:gd name="T84" fmla="*/ 248 w 273"/>
                <a:gd name="T85" fmla="*/ 160 h 369"/>
                <a:gd name="T86" fmla="*/ 240 w 273"/>
                <a:gd name="T87" fmla="*/ 128 h 369"/>
                <a:gd name="T88" fmla="*/ 248 w 273"/>
                <a:gd name="T89" fmla="*/ 120 h 369"/>
                <a:gd name="T90" fmla="*/ 232 w 273"/>
                <a:gd name="T91" fmla="*/ 104 h 369"/>
                <a:gd name="T92" fmla="*/ 248 w 273"/>
                <a:gd name="T93" fmla="*/ 96 h 369"/>
                <a:gd name="T94" fmla="*/ 256 w 273"/>
                <a:gd name="T95" fmla="*/ 104 h 369"/>
                <a:gd name="T96" fmla="*/ 272 w 273"/>
                <a:gd name="T97" fmla="*/ 80 h 369"/>
                <a:gd name="T98" fmla="*/ 272 w 273"/>
                <a:gd name="T99" fmla="*/ 56 h 369"/>
                <a:gd name="T100" fmla="*/ 0 w 273"/>
                <a:gd name="T101" fmla="*/ 0 h 369"/>
                <a:gd name="T102" fmla="*/ 273 w 273"/>
                <a:gd name="T103" fmla="*/ 369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T100" t="T101" r="T102" b="T103"/>
              <a:pathLst>
                <a:path w="273" h="369">
                  <a:moveTo>
                    <a:pt x="272" y="56"/>
                  </a:moveTo>
                  <a:lnTo>
                    <a:pt x="272" y="48"/>
                  </a:lnTo>
                  <a:lnTo>
                    <a:pt x="256" y="48"/>
                  </a:lnTo>
                  <a:lnTo>
                    <a:pt x="256" y="56"/>
                  </a:lnTo>
                  <a:lnTo>
                    <a:pt x="240" y="56"/>
                  </a:lnTo>
                  <a:lnTo>
                    <a:pt x="232" y="56"/>
                  </a:lnTo>
                  <a:lnTo>
                    <a:pt x="232" y="32"/>
                  </a:lnTo>
                  <a:lnTo>
                    <a:pt x="224" y="32"/>
                  </a:lnTo>
                  <a:lnTo>
                    <a:pt x="208" y="56"/>
                  </a:lnTo>
                  <a:lnTo>
                    <a:pt x="184" y="56"/>
                  </a:lnTo>
                  <a:lnTo>
                    <a:pt x="176" y="32"/>
                  </a:lnTo>
                  <a:lnTo>
                    <a:pt x="168" y="16"/>
                  </a:lnTo>
                  <a:lnTo>
                    <a:pt x="160" y="0"/>
                  </a:lnTo>
                  <a:lnTo>
                    <a:pt x="144" y="0"/>
                  </a:lnTo>
                  <a:lnTo>
                    <a:pt x="144" y="8"/>
                  </a:lnTo>
                  <a:lnTo>
                    <a:pt x="112" y="16"/>
                  </a:lnTo>
                  <a:lnTo>
                    <a:pt x="112" y="32"/>
                  </a:lnTo>
                  <a:lnTo>
                    <a:pt x="80" y="32"/>
                  </a:lnTo>
                  <a:lnTo>
                    <a:pt x="64" y="48"/>
                  </a:lnTo>
                  <a:lnTo>
                    <a:pt x="64" y="72"/>
                  </a:lnTo>
                  <a:lnTo>
                    <a:pt x="72" y="88"/>
                  </a:lnTo>
                  <a:lnTo>
                    <a:pt x="48" y="112"/>
                  </a:lnTo>
                  <a:lnTo>
                    <a:pt x="40" y="112"/>
                  </a:lnTo>
                  <a:lnTo>
                    <a:pt x="32" y="144"/>
                  </a:lnTo>
                  <a:lnTo>
                    <a:pt x="32" y="160"/>
                  </a:lnTo>
                  <a:lnTo>
                    <a:pt x="32" y="176"/>
                  </a:lnTo>
                  <a:lnTo>
                    <a:pt x="16" y="200"/>
                  </a:lnTo>
                  <a:lnTo>
                    <a:pt x="8" y="216"/>
                  </a:lnTo>
                  <a:lnTo>
                    <a:pt x="0" y="256"/>
                  </a:lnTo>
                  <a:lnTo>
                    <a:pt x="8" y="272"/>
                  </a:lnTo>
                  <a:lnTo>
                    <a:pt x="56" y="272"/>
                  </a:lnTo>
                  <a:lnTo>
                    <a:pt x="80" y="328"/>
                  </a:lnTo>
                  <a:lnTo>
                    <a:pt x="88" y="368"/>
                  </a:lnTo>
                  <a:lnTo>
                    <a:pt x="112" y="328"/>
                  </a:lnTo>
                  <a:lnTo>
                    <a:pt x="120" y="336"/>
                  </a:lnTo>
                  <a:lnTo>
                    <a:pt x="152" y="304"/>
                  </a:lnTo>
                  <a:lnTo>
                    <a:pt x="152" y="280"/>
                  </a:lnTo>
                  <a:lnTo>
                    <a:pt x="184" y="272"/>
                  </a:lnTo>
                  <a:lnTo>
                    <a:pt x="200" y="232"/>
                  </a:lnTo>
                  <a:lnTo>
                    <a:pt x="216" y="224"/>
                  </a:lnTo>
                  <a:lnTo>
                    <a:pt x="216" y="200"/>
                  </a:lnTo>
                  <a:lnTo>
                    <a:pt x="240" y="200"/>
                  </a:lnTo>
                  <a:lnTo>
                    <a:pt x="248" y="160"/>
                  </a:lnTo>
                  <a:lnTo>
                    <a:pt x="240" y="128"/>
                  </a:lnTo>
                  <a:lnTo>
                    <a:pt x="248" y="120"/>
                  </a:lnTo>
                  <a:lnTo>
                    <a:pt x="232" y="104"/>
                  </a:lnTo>
                  <a:lnTo>
                    <a:pt x="248" y="96"/>
                  </a:lnTo>
                  <a:lnTo>
                    <a:pt x="256" y="104"/>
                  </a:lnTo>
                  <a:lnTo>
                    <a:pt x="272" y="80"/>
                  </a:lnTo>
                  <a:lnTo>
                    <a:pt x="272" y="56"/>
                  </a:lnTo>
                </a:path>
              </a:pathLst>
            </a:custGeom>
            <a:solidFill>
              <a:srgbClr val="7030A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10" name="Freeform 19"/>
            <p:cNvSpPr/>
            <p:nvPr/>
          </p:nvSpPr>
          <p:spPr bwMode="auto">
            <a:xfrm>
              <a:off x="3497263" y="4862513"/>
              <a:ext cx="752475" cy="528637"/>
            </a:xfrm>
            <a:custGeom>
              <a:avLst/>
              <a:gdLst>
                <a:gd name="T0" fmla="*/ 496 w 505"/>
                <a:gd name="T1" fmla="*/ 96 h 385"/>
                <a:gd name="T2" fmla="*/ 424 w 505"/>
                <a:gd name="T3" fmla="*/ 40 h 385"/>
                <a:gd name="T4" fmla="*/ 408 w 505"/>
                <a:gd name="T5" fmla="*/ 56 h 385"/>
                <a:gd name="T6" fmla="*/ 376 w 505"/>
                <a:gd name="T7" fmla="*/ 40 h 385"/>
                <a:gd name="T8" fmla="*/ 312 w 505"/>
                <a:gd name="T9" fmla="*/ 56 h 385"/>
                <a:gd name="T10" fmla="*/ 312 w 505"/>
                <a:gd name="T11" fmla="*/ 0 h 385"/>
                <a:gd name="T12" fmla="*/ 280 w 505"/>
                <a:gd name="T13" fmla="*/ 0 h 385"/>
                <a:gd name="T14" fmla="*/ 216 w 505"/>
                <a:gd name="T15" fmla="*/ 8 h 385"/>
                <a:gd name="T16" fmla="*/ 208 w 505"/>
                <a:gd name="T17" fmla="*/ 40 h 385"/>
                <a:gd name="T18" fmla="*/ 168 w 505"/>
                <a:gd name="T19" fmla="*/ 24 h 385"/>
                <a:gd name="T20" fmla="*/ 144 w 505"/>
                <a:gd name="T21" fmla="*/ 48 h 385"/>
                <a:gd name="T22" fmla="*/ 152 w 505"/>
                <a:gd name="T23" fmla="*/ 88 h 385"/>
                <a:gd name="T24" fmla="*/ 144 w 505"/>
                <a:gd name="T25" fmla="*/ 112 h 385"/>
                <a:gd name="T26" fmla="*/ 112 w 505"/>
                <a:gd name="T27" fmla="*/ 168 h 385"/>
                <a:gd name="T28" fmla="*/ 72 w 505"/>
                <a:gd name="T29" fmla="*/ 224 h 385"/>
                <a:gd name="T30" fmla="*/ 32 w 505"/>
                <a:gd name="T31" fmla="*/ 272 h 385"/>
                <a:gd name="T32" fmla="*/ 0 w 505"/>
                <a:gd name="T33" fmla="*/ 296 h 385"/>
                <a:gd name="T34" fmla="*/ 8 w 505"/>
                <a:gd name="T35" fmla="*/ 312 h 385"/>
                <a:gd name="T36" fmla="*/ 16 w 505"/>
                <a:gd name="T37" fmla="*/ 360 h 385"/>
                <a:gd name="T38" fmla="*/ 56 w 505"/>
                <a:gd name="T39" fmla="*/ 384 h 385"/>
                <a:gd name="T40" fmla="*/ 40 w 505"/>
                <a:gd name="T41" fmla="*/ 344 h 385"/>
                <a:gd name="T42" fmla="*/ 80 w 505"/>
                <a:gd name="T43" fmla="*/ 304 h 385"/>
                <a:gd name="T44" fmla="*/ 152 w 505"/>
                <a:gd name="T45" fmla="*/ 280 h 385"/>
                <a:gd name="T46" fmla="*/ 192 w 505"/>
                <a:gd name="T47" fmla="*/ 296 h 385"/>
                <a:gd name="T48" fmla="*/ 240 w 505"/>
                <a:gd name="T49" fmla="*/ 248 h 385"/>
                <a:gd name="T50" fmla="*/ 264 w 505"/>
                <a:gd name="T51" fmla="*/ 240 h 385"/>
                <a:gd name="T52" fmla="*/ 264 w 505"/>
                <a:gd name="T53" fmla="*/ 216 h 385"/>
                <a:gd name="T54" fmla="*/ 280 w 505"/>
                <a:gd name="T55" fmla="*/ 208 h 385"/>
                <a:gd name="T56" fmla="*/ 336 w 505"/>
                <a:gd name="T57" fmla="*/ 232 h 385"/>
                <a:gd name="T58" fmla="*/ 336 w 505"/>
                <a:gd name="T59" fmla="*/ 200 h 385"/>
                <a:gd name="T60" fmla="*/ 376 w 505"/>
                <a:gd name="T61" fmla="*/ 192 h 385"/>
                <a:gd name="T62" fmla="*/ 392 w 505"/>
                <a:gd name="T63" fmla="*/ 200 h 385"/>
                <a:gd name="T64" fmla="*/ 400 w 505"/>
                <a:gd name="T65" fmla="*/ 184 h 385"/>
                <a:gd name="T66" fmla="*/ 448 w 505"/>
                <a:gd name="T67" fmla="*/ 176 h 385"/>
                <a:gd name="T68" fmla="*/ 480 w 505"/>
                <a:gd name="T69" fmla="*/ 136 h 385"/>
                <a:gd name="T70" fmla="*/ 0 w 505"/>
                <a:gd name="T71" fmla="*/ 0 h 385"/>
                <a:gd name="T72" fmla="*/ 505 w 505"/>
                <a:gd name="T73" fmla="*/ 385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T70" t="T71" r="T72" b="T73"/>
              <a:pathLst>
                <a:path w="505" h="385">
                  <a:moveTo>
                    <a:pt x="504" y="128"/>
                  </a:moveTo>
                  <a:lnTo>
                    <a:pt x="496" y="96"/>
                  </a:lnTo>
                  <a:lnTo>
                    <a:pt x="472" y="40"/>
                  </a:lnTo>
                  <a:lnTo>
                    <a:pt x="424" y="40"/>
                  </a:lnTo>
                  <a:lnTo>
                    <a:pt x="416" y="32"/>
                  </a:lnTo>
                  <a:lnTo>
                    <a:pt x="408" y="56"/>
                  </a:lnTo>
                  <a:lnTo>
                    <a:pt x="392" y="56"/>
                  </a:lnTo>
                  <a:lnTo>
                    <a:pt x="376" y="40"/>
                  </a:lnTo>
                  <a:lnTo>
                    <a:pt x="320" y="64"/>
                  </a:lnTo>
                  <a:lnTo>
                    <a:pt x="312" y="56"/>
                  </a:lnTo>
                  <a:lnTo>
                    <a:pt x="336" y="8"/>
                  </a:lnTo>
                  <a:lnTo>
                    <a:pt x="312" y="0"/>
                  </a:lnTo>
                  <a:lnTo>
                    <a:pt x="296" y="16"/>
                  </a:lnTo>
                  <a:lnTo>
                    <a:pt x="280" y="0"/>
                  </a:lnTo>
                  <a:lnTo>
                    <a:pt x="272" y="8"/>
                  </a:lnTo>
                  <a:lnTo>
                    <a:pt x="216" y="8"/>
                  </a:lnTo>
                  <a:lnTo>
                    <a:pt x="224" y="40"/>
                  </a:lnTo>
                  <a:lnTo>
                    <a:pt x="208" y="40"/>
                  </a:lnTo>
                  <a:lnTo>
                    <a:pt x="176" y="16"/>
                  </a:lnTo>
                  <a:lnTo>
                    <a:pt x="168" y="24"/>
                  </a:lnTo>
                  <a:lnTo>
                    <a:pt x="168" y="48"/>
                  </a:lnTo>
                  <a:lnTo>
                    <a:pt x="144" y="48"/>
                  </a:lnTo>
                  <a:lnTo>
                    <a:pt x="144" y="72"/>
                  </a:lnTo>
                  <a:lnTo>
                    <a:pt x="152" y="88"/>
                  </a:lnTo>
                  <a:lnTo>
                    <a:pt x="144" y="96"/>
                  </a:lnTo>
                  <a:lnTo>
                    <a:pt x="144" y="112"/>
                  </a:lnTo>
                  <a:lnTo>
                    <a:pt x="112" y="144"/>
                  </a:lnTo>
                  <a:lnTo>
                    <a:pt x="112" y="168"/>
                  </a:lnTo>
                  <a:lnTo>
                    <a:pt x="104" y="200"/>
                  </a:lnTo>
                  <a:lnTo>
                    <a:pt x="72" y="224"/>
                  </a:lnTo>
                  <a:lnTo>
                    <a:pt x="48" y="256"/>
                  </a:lnTo>
                  <a:lnTo>
                    <a:pt x="32" y="272"/>
                  </a:lnTo>
                  <a:lnTo>
                    <a:pt x="8" y="280"/>
                  </a:lnTo>
                  <a:lnTo>
                    <a:pt x="0" y="296"/>
                  </a:lnTo>
                  <a:lnTo>
                    <a:pt x="16" y="304"/>
                  </a:lnTo>
                  <a:lnTo>
                    <a:pt x="8" y="312"/>
                  </a:lnTo>
                  <a:lnTo>
                    <a:pt x="8" y="352"/>
                  </a:lnTo>
                  <a:lnTo>
                    <a:pt x="16" y="360"/>
                  </a:lnTo>
                  <a:lnTo>
                    <a:pt x="16" y="384"/>
                  </a:lnTo>
                  <a:lnTo>
                    <a:pt x="56" y="384"/>
                  </a:lnTo>
                  <a:lnTo>
                    <a:pt x="56" y="360"/>
                  </a:lnTo>
                  <a:lnTo>
                    <a:pt x="40" y="344"/>
                  </a:lnTo>
                  <a:lnTo>
                    <a:pt x="48" y="312"/>
                  </a:lnTo>
                  <a:lnTo>
                    <a:pt x="80" y="304"/>
                  </a:lnTo>
                  <a:lnTo>
                    <a:pt x="104" y="304"/>
                  </a:lnTo>
                  <a:lnTo>
                    <a:pt x="152" y="280"/>
                  </a:lnTo>
                  <a:lnTo>
                    <a:pt x="184" y="280"/>
                  </a:lnTo>
                  <a:lnTo>
                    <a:pt x="192" y="296"/>
                  </a:lnTo>
                  <a:lnTo>
                    <a:pt x="208" y="264"/>
                  </a:lnTo>
                  <a:lnTo>
                    <a:pt x="240" y="248"/>
                  </a:lnTo>
                  <a:lnTo>
                    <a:pt x="248" y="224"/>
                  </a:lnTo>
                  <a:lnTo>
                    <a:pt x="264" y="240"/>
                  </a:lnTo>
                  <a:lnTo>
                    <a:pt x="272" y="240"/>
                  </a:lnTo>
                  <a:lnTo>
                    <a:pt x="264" y="216"/>
                  </a:lnTo>
                  <a:lnTo>
                    <a:pt x="264" y="184"/>
                  </a:lnTo>
                  <a:lnTo>
                    <a:pt x="280" y="208"/>
                  </a:lnTo>
                  <a:lnTo>
                    <a:pt x="288" y="232"/>
                  </a:lnTo>
                  <a:lnTo>
                    <a:pt x="336" y="232"/>
                  </a:lnTo>
                  <a:lnTo>
                    <a:pt x="320" y="216"/>
                  </a:lnTo>
                  <a:lnTo>
                    <a:pt x="336" y="200"/>
                  </a:lnTo>
                  <a:lnTo>
                    <a:pt x="360" y="208"/>
                  </a:lnTo>
                  <a:lnTo>
                    <a:pt x="376" y="192"/>
                  </a:lnTo>
                  <a:lnTo>
                    <a:pt x="392" y="192"/>
                  </a:lnTo>
                  <a:lnTo>
                    <a:pt x="392" y="200"/>
                  </a:lnTo>
                  <a:lnTo>
                    <a:pt x="400" y="200"/>
                  </a:lnTo>
                  <a:lnTo>
                    <a:pt x="400" y="184"/>
                  </a:lnTo>
                  <a:lnTo>
                    <a:pt x="424" y="192"/>
                  </a:lnTo>
                  <a:lnTo>
                    <a:pt x="448" y="176"/>
                  </a:lnTo>
                  <a:lnTo>
                    <a:pt x="472" y="168"/>
                  </a:lnTo>
                  <a:lnTo>
                    <a:pt x="480" y="136"/>
                  </a:lnTo>
                  <a:lnTo>
                    <a:pt x="504" y="128"/>
                  </a:lnTo>
                </a:path>
              </a:pathLst>
            </a:custGeom>
            <a:solidFill>
              <a:srgbClr val="4BACC6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11" name="Freeform 20"/>
            <p:cNvSpPr/>
            <p:nvPr/>
          </p:nvSpPr>
          <p:spPr bwMode="auto">
            <a:xfrm>
              <a:off x="2995613" y="4762500"/>
              <a:ext cx="741362" cy="528638"/>
            </a:xfrm>
            <a:custGeom>
              <a:avLst/>
              <a:gdLst>
                <a:gd name="T0" fmla="*/ 344 w 497"/>
                <a:gd name="T1" fmla="*/ 344 h 385"/>
                <a:gd name="T2" fmla="*/ 416 w 497"/>
                <a:gd name="T3" fmla="*/ 296 h 385"/>
                <a:gd name="T4" fmla="*/ 448 w 497"/>
                <a:gd name="T5" fmla="*/ 240 h 385"/>
                <a:gd name="T6" fmla="*/ 480 w 497"/>
                <a:gd name="T7" fmla="*/ 184 h 385"/>
                <a:gd name="T8" fmla="*/ 496 w 497"/>
                <a:gd name="T9" fmla="*/ 160 h 385"/>
                <a:gd name="T10" fmla="*/ 480 w 497"/>
                <a:gd name="T11" fmla="*/ 128 h 385"/>
                <a:gd name="T12" fmla="*/ 456 w 497"/>
                <a:gd name="T13" fmla="*/ 96 h 385"/>
                <a:gd name="T14" fmla="*/ 440 w 497"/>
                <a:gd name="T15" fmla="*/ 112 h 385"/>
                <a:gd name="T16" fmla="*/ 424 w 497"/>
                <a:gd name="T17" fmla="*/ 104 h 385"/>
                <a:gd name="T18" fmla="*/ 440 w 497"/>
                <a:gd name="T19" fmla="*/ 56 h 385"/>
                <a:gd name="T20" fmla="*/ 440 w 497"/>
                <a:gd name="T21" fmla="*/ 16 h 385"/>
                <a:gd name="T22" fmla="*/ 408 w 497"/>
                <a:gd name="T23" fmla="*/ 8 h 385"/>
                <a:gd name="T24" fmla="*/ 376 w 497"/>
                <a:gd name="T25" fmla="*/ 24 h 385"/>
                <a:gd name="T26" fmla="*/ 360 w 497"/>
                <a:gd name="T27" fmla="*/ 24 h 385"/>
                <a:gd name="T28" fmla="*/ 320 w 497"/>
                <a:gd name="T29" fmla="*/ 32 h 385"/>
                <a:gd name="T30" fmla="*/ 288 w 497"/>
                <a:gd name="T31" fmla="*/ 64 h 385"/>
                <a:gd name="T32" fmla="*/ 264 w 497"/>
                <a:gd name="T33" fmla="*/ 72 h 385"/>
                <a:gd name="T34" fmla="*/ 224 w 497"/>
                <a:gd name="T35" fmla="*/ 96 h 385"/>
                <a:gd name="T36" fmla="*/ 184 w 497"/>
                <a:gd name="T37" fmla="*/ 88 h 385"/>
                <a:gd name="T38" fmla="*/ 160 w 497"/>
                <a:gd name="T39" fmla="*/ 72 h 385"/>
                <a:gd name="T40" fmla="*/ 144 w 497"/>
                <a:gd name="T41" fmla="*/ 88 h 385"/>
                <a:gd name="T42" fmla="*/ 96 w 497"/>
                <a:gd name="T43" fmla="*/ 128 h 385"/>
                <a:gd name="T44" fmla="*/ 32 w 497"/>
                <a:gd name="T45" fmla="*/ 112 h 385"/>
                <a:gd name="T46" fmla="*/ 0 w 497"/>
                <a:gd name="T47" fmla="*/ 128 h 385"/>
                <a:gd name="T48" fmla="*/ 32 w 497"/>
                <a:gd name="T49" fmla="*/ 144 h 385"/>
                <a:gd name="T50" fmla="*/ 88 w 497"/>
                <a:gd name="T51" fmla="*/ 168 h 385"/>
                <a:gd name="T52" fmla="*/ 104 w 497"/>
                <a:gd name="T53" fmla="*/ 208 h 385"/>
                <a:gd name="T54" fmla="*/ 56 w 497"/>
                <a:gd name="T55" fmla="*/ 224 h 385"/>
                <a:gd name="T56" fmla="*/ 88 w 497"/>
                <a:gd name="T57" fmla="*/ 248 h 385"/>
                <a:gd name="T58" fmla="*/ 136 w 497"/>
                <a:gd name="T59" fmla="*/ 280 h 385"/>
                <a:gd name="T60" fmla="*/ 136 w 497"/>
                <a:gd name="T61" fmla="*/ 304 h 385"/>
                <a:gd name="T62" fmla="*/ 208 w 497"/>
                <a:gd name="T63" fmla="*/ 360 h 385"/>
                <a:gd name="T64" fmla="*/ 248 w 497"/>
                <a:gd name="T65" fmla="*/ 360 h 385"/>
                <a:gd name="T66" fmla="*/ 256 w 497"/>
                <a:gd name="T67" fmla="*/ 344 h 385"/>
                <a:gd name="T68" fmla="*/ 296 w 497"/>
                <a:gd name="T69" fmla="*/ 376 h 385"/>
                <a:gd name="T70" fmla="*/ 336 w 497"/>
                <a:gd name="T71" fmla="*/ 368 h 385"/>
                <a:gd name="T72" fmla="*/ 0 w 497"/>
                <a:gd name="T73" fmla="*/ 0 h 385"/>
                <a:gd name="T74" fmla="*/ 497 w 497"/>
                <a:gd name="T75" fmla="*/ 385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T72" t="T73" r="T74" b="T75"/>
              <a:pathLst>
                <a:path w="497" h="385">
                  <a:moveTo>
                    <a:pt x="336" y="368"/>
                  </a:moveTo>
                  <a:lnTo>
                    <a:pt x="344" y="344"/>
                  </a:lnTo>
                  <a:lnTo>
                    <a:pt x="368" y="344"/>
                  </a:lnTo>
                  <a:lnTo>
                    <a:pt x="416" y="296"/>
                  </a:lnTo>
                  <a:lnTo>
                    <a:pt x="440" y="272"/>
                  </a:lnTo>
                  <a:lnTo>
                    <a:pt x="448" y="240"/>
                  </a:lnTo>
                  <a:lnTo>
                    <a:pt x="448" y="216"/>
                  </a:lnTo>
                  <a:lnTo>
                    <a:pt x="480" y="184"/>
                  </a:lnTo>
                  <a:lnTo>
                    <a:pt x="480" y="168"/>
                  </a:lnTo>
                  <a:lnTo>
                    <a:pt x="496" y="160"/>
                  </a:lnTo>
                  <a:lnTo>
                    <a:pt x="480" y="152"/>
                  </a:lnTo>
                  <a:lnTo>
                    <a:pt x="480" y="128"/>
                  </a:lnTo>
                  <a:lnTo>
                    <a:pt x="456" y="128"/>
                  </a:lnTo>
                  <a:lnTo>
                    <a:pt x="456" y="96"/>
                  </a:lnTo>
                  <a:lnTo>
                    <a:pt x="440" y="96"/>
                  </a:lnTo>
                  <a:lnTo>
                    <a:pt x="440" y="112"/>
                  </a:lnTo>
                  <a:lnTo>
                    <a:pt x="424" y="112"/>
                  </a:lnTo>
                  <a:lnTo>
                    <a:pt x="424" y="104"/>
                  </a:lnTo>
                  <a:lnTo>
                    <a:pt x="432" y="64"/>
                  </a:lnTo>
                  <a:lnTo>
                    <a:pt x="440" y="56"/>
                  </a:lnTo>
                  <a:lnTo>
                    <a:pt x="440" y="40"/>
                  </a:lnTo>
                  <a:lnTo>
                    <a:pt x="440" y="16"/>
                  </a:lnTo>
                  <a:lnTo>
                    <a:pt x="432" y="0"/>
                  </a:lnTo>
                  <a:lnTo>
                    <a:pt x="408" y="8"/>
                  </a:lnTo>
                  <a:lnTo>
                    <a:pt x="392" y="8"/>
                  </a:lnTo>
                  <a:lnTo>
                    <a:pt x="376" y="24"/>
                  </a:lnTo>
                  <a:lnTo>
                    <a:pt x="360" y="32"/>
                  </a:lnTo>
                  <a:lnTo>
                    <a:pt x="360" y="24"/>
                  </a:lnTo>
                  <a:lnTo>
                    <a:pt x="344" y="32"/>
                  </a:lnTo>
                  <a:lnTo>
                    <a:pt x="320" y="32"/>
                  </a:lnTo>
                  <a:lnTo>
                    <a:pt x="304" y="40"/>
                  </a:lnTo>
                  <a:lnTo>
                    <a:pt x="288" y="64"/>
                  </a:lnTo>
                  <a:lnTo>
                    <a:pt x="272" y="56"/>
                  </a:lnTo>
                  <a:lnTo>
                    <a:pt x="264" y="72"/>
                  </a:lnTo>
                  <a:lnTo>
                    <a:pt x="232" y="72"/>
                  </a:lnTo>
                  <a:lnTo>
                    <a:pt x="224" y="96"/>
                  </a:lnTo>
                  <a:lnTo>
                    <a:pt x="200" y="104"/>
                  </a:lnTo>
                  <a:lnTo>
                    <a:pt x="184" y="88"/>
                  </a:lnTo>
                  <a:lnTo>
                    <a:pt x="176" y="64"/>
                  </a:lnTo>
                  <a:lnTo>
                    <a:pt x="160" y="72"/>
                  </a:lnTo>
                  <a:lnTo>
                    <a:pt x="160" y="88"/>
                  </a:lnTo>
                  <a:lnTo>
                    <a:pt x="144" y="88"/>
                  </a:lnTo>
                  <a:lnTo>
                    <a:pt x="104" y="112"/>
                  </a:lnTo>
                  <a:lnTo>
                    <a:pt x="96" y="128"/>
                  </a:lnTo>
                  <a:lnTo>
                    <a:pt x="48" y="112"/>
                  </a:lnTo>
                  <a:lnTo>
                    <a:pt x="32" y="112"/>
                  </a:lnTo>
                  <a:lnTo>
                    <a:pt x="24" y="120"/>
                  </a:lnTo>
                  <a:lnTo>
                    <a:pt x="0" y="128"/>
                  </a:lnTo>
                  <a:lnTo>
                    <a:pt x="0" y="144"/>
                  </a:lnTo>
                  <a:lnTo>
                    <a:pt x="32" y="144"/>
                  </a:lnTo>
                  <a:lnTo>
                    <a:pt x="40" y="160"/>
                  </a:lnTo>
                  <a:lnTo>
                    <a:pt x="88" y="168"/>
                  </a:lnTo>
                  <a:lnTo>
                    <a:pt x="96" y="176"/>
                  </a:lnTo>
                  <a:lnTo>
                    <a:pt x="104" y="208"/>
                  </a:lnTo>
                  <a:lnTo>
                    <a:pt x="64" y="208"/>
                  </a:lnTo>
                  <a:lnTo>
                    <a:pt x="56" y="224"/>
                  </a:lnTo>
                  <a:lnTo>
                    <a:pt x="64" y="240"/>
                  </a:lnTo>
                  <a:lnTo>
                    <a:pt x="88" y="248"/>
                  </a:lnTo>
                  <a:lnTo>
                    <a:pt x="136" y="264"/>
                  </a:lnTo>
                  <a:lnTo>
                    <a:pt x="136" y="280"/>
                  </a:lnTo>
                  <a:lnTo>
                    <a:pt x="120" y="288"/>
                  </a:lnTo>
                  <a:lnTo>
                    <a:pt x="136" y="304"/>
                  </a:lnTo>
                  <a:lnTo>
                    <a:pt x="136" y="328"/>
                  </a:lnTo>
                  <a:lnTo>
                    <a:pt x="208" y="360"/>
                  </a:lnTo>
                  <a:lnTo>
                    <a:pt x="224" y="360"/>
                  </a:lnTo>
                  <a:lnTo>
                    <a:pt x="248" y="360"/>
                  </a:lnTo>
                  <a:lnTo>
                    <a:pt x="256" y="368"/>
                  </a:lnTo>
                  <a:lnTo>
                    <a:pt x="256" y="344"/>
                  </a:lnTo>
                  <a:lnTo>
                    <a:pt x="288" y="352"/>
                  </a:lnTo>
                  <a:lnTo>
                    <a:pt x="296" y="376"/>
                  </a:lnTo>
                  <a:lnTo>
                    <a:pt x="312" y="384"/>
                  </a:lnTo>
                  <a:lnTo>
                    <a:pt x="336" y="368"/>
                  </a:ln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12" name="Freeform 21"/>
            <p:cNvSpPr/>
            <p:nvPr/>
          </p:nvSpPr>
          <p:spPr bwMode="auto">
            <a:xfrm>
              <a:off x="2924175" y="4467225"/>
              <a:ext cx="552450" cy="485775"/>
            </a:xfrm>
            <a:custGeom>
              <a:avLst/>
              <a:gdLst>
                <a:gd name="T0" fmla="*/ 48 w 369"/>
                <a:gd name="T1" fmla="*/ 320 h 353"/>
                <a:gd name="T2" fmla="*/ 32 w 369"/>
                <a:gd name="T3" fmla="*/ 264 h 353"/>
                <a:gd name="T4" fmla="*/ 56 w 369"/>
                <a:gd name="T5" fmla="*/ 192 h 353"/>
                <a:gd name="T6" fmla="*/ 8 w 369"/>
                <a:gd name="T7" fmla="*/ 160 h 353"/>
                <a:gd name="T8" fmla="*/ 16 w 369"/>
                <a:gd name="T9" fmla="*/ 136 h 353"/>
                <a:gd name="T10" fmla="*/ 48 w 369"/>
                <a:gd name="T11" fmla="*/ 136 h 353"/>
                <a:gd name="T12" fmla="*/ 104 w 369"/>
                <a:gd name="T13" fmla="*/ 120 h 353"/>
                <a:gd name="T14" fmla="*/ 168 w 369"/>
                <a:gd name="T15" fmla="*/ 112 h 353"/>
                <a:gd name="T16" fmla="*/ 136 w 369"/>
                <a:gd name="T17" fmla="*/ 80 h 353"/>
                <a:gd name="T18" fmla="*/ 144 w 369"/>
                <a:gd name="T19" fmla="*/ 40 h 353"/>
                <a:gd name="T20" fmla="*/ 184 w 369"/>
                <a:gd name="T21" fmla="*/ 40 h 353"/>
                <a:gd name="T22" fmla="*/ 208 w 369"/>
                <a:gd name="T23" fmla="*/ 48 h 353"/>
                <a:gd name="T24" fmla="*/ 232 w 369"/>
                <a:gd name="T25" fmla="*/ 40 h 353"/>
                <a:gd name="T26" fmla="*/ 248 w 369"/>
                <a:gd name="T27" fmla="*/ 0 h 353"/>
                <a:gd name="T28" fmla="*/ 288 w 369"/>
                <a:gd name="T29" fmla="*/ 16 h 353"/>
                <a:gd name="T30" fmla="*/ 320 w 369"/>
                <a:gd name="T31" fmla="*/ 72 h 353"/>
                <a:gd name="T32" fmla="*/ 344 w 369"/>
                <a:gd name="T33" fmla="*/ 88 h 353"/>
                <a:gd name="T34" fmla="*/ 360 w 369"/>
                <a:gd name="T35" fmla="*/ 64 h 353"/>
                <a:gd name="T36" fmla="*/ 360 w 369"/>
                <a:gd name="T37" fmla="*/ 96 h 353"/>
                <a:gd name="T38" fmla="*/ 360 w 369"/>
                <a:gd name="T39" fmla="*/ 128 h 353"/>
                <a:gd name="T40" fmla="*/ 336 w 369"/>
                <a:gd name="T41" fmla="*/ 168 h 353"/>
                <a:gd name="T42" fmla="*/ 368 w 369"/>
                <a:gd name="T43" fmla="*/ 184 h 353"/>
                <a:gd name="T44" fmla="*/ 360 w 369"/>
                <a:gd name="T45" fmla="*/ 208 h 353"/>
                <a:gd name="T46" fmla="*/ 368 w 369"/>
                <a:gd name="T47" fmla="*/ 232 h 353"/>
                <a:gd name="T48" fmla="*/ 344 w 369"/>
                <a:gd name="T49" fmla="*/ 256 h 353"/>
                <a:gd name="T50" fmla="*/ 344 w 369"/>
                <a:gd name="T51" fmla="*/ 280 h 353"/>
                <a:gd name="T52" fmla="*/ 312 w 369"/>
                <a:gd name="T53" fmla="*/ 288 h 353"/>
                <a:gd name="T54" fmla="*/ 272 w 369"/>
                <a:gd name="T55" fmla="*/ 312 h 353"/>
                <a:gd name="T56" fmla="*/ 232 w 369"/>
                <a:gd name="T57" fmla="*/ 304 h 353"/>
                <a:gd name="T58" fmla="*/ 208 w 369"/>
                <a:gd name="T59" fmla="*/ 288 h 353"/>
                <a:gd name="T60" fmla="*/ 192 w 369"/>
                <a:gd name="T61" fmla="*/ 304 h 353"/>
                <a:gd name="T62" fmla="*/ 144 w 369"/>
                <a:gd name="T63" fmla="*/ 352 h 353"/>
                <a:gd name="T64" fmla="*/ 80 w 369"/>
                <a:gd name="T65" fmla="*/ 328 h 353"/>
                <a:gd name="T66" fmla="*/ 0 w 369"/>
                <a:gd name="T67" fmla="*/ 0 h 353"/>
                <a:gd name="T68" fmla="*/ 369 w 369"/>
                <a:gd name="T69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T66" t="T67" r="T68" b="T69"/>
              <a:pathLst>
                <a:path w="369" h="353">
                  <a:moveTo>
                    <a:pt x="48" y="344"/>
                  </a:moveTo>
                  <a:lnTo>
                    <a:pt x="48" y="320"/>
                  </a:lnTo>
                  <a:lnTo>
                    <a:pt x="64" y="296"/>
                  </a:lnTo>
                  <a:lnTo>
                    <a:pt x="32" y="264"/>
                  </a:lnTo>
                  <a:lnTo>
                    <a:pt x="56" y="224"/>
                  </a:lnTo>
                  <a:lnTo>
                    <a:pt x="56" y="192"/>
                  </a:lnTo>
                  <a:lnTo>
                    <a:pt x="8" y="200"/>
                  </a:lnTo>
                  <a:lnTo>
                    <a:pt x="8" y="160"/>
                  </a:lnTo>
                  <a:lnTo>
                    <a:pt x="0" y="152"/>
                  </a:lnTo>
                  <a:lnTo>
                    <a:pt x="16" y="136"/>
                  </a:lnTo>
                  <a:lnTo>
                    <a:pt x="32" y="144"/>
                  </a:lnTo>
                  <a:lnTo>
                    <a:pt x="48" y="136"/>
                  </a:lnTo>
                  <a:lnTo>
                    <a:pt x="96" y="136"/>
                  </a:lnTo>
                  <a:lnTo>
                    <a:pt x="104" y="120"/>
                  </a:lnTo>
                  <a:lnTo>
                    <a:pt x="112" y="112"/>
                  </a:lnTo>
                  <a:lnTo>
                    <a:pt x="168" y="112"/>
                  </a:lnTo>
                  <a:lnTo>
                    <a:pt x="160" y="80"/>
                  </a:lnTo>
                  <a:lnTo>
                    <a:pt x="136" y="80"/>
                  </a:lnTo>
                  <a:lnTo>
                    <a:pt x="128" y="56"/>
                  </a:lnTo>
                  <a:lnTo>
                    <a:pt x="144" y="40"/>
                  </a:lnTo>
                  <a:lnTo>
                    <a:pt x="168" y="48"/>
                  </a:lnTo>
                  <a:lnTo>
                    <a:pt x="184" y="40"/>
                  </a:lnTo>
                  <a:lnTo>
                    <a:pt x="192" y="56"/>
                  </a:lnTo>
                  <a:lnTo>
                    <a:pt x="208" y="48"/>
                  </a:lnTo>
                  <a:lnTo>
                    <a:pt x="208" y="24"/>
                  </a:lnTo>
                  <a:lnTo>
                    <a:pt x="232" y="40"/>
                  </a:lnTo>
                  <a:lnTo>
                    <a:pt x="240" y="8"/>
                  </a:lnTo>
                  <a:lnTo>
                    <a:pt x="248" y="0"/>
                  </a:lnTo>
                  <a:lnTo>
                    <a:pt x="264" y="16"/>
                  </a:lnTo>
                  <a:lnTo>
                    <a:pt x="288" y="16"/>
                  </a:lnTo>
                  <a:lnTo>
                    <a:pt x="312" y="72"/>
                  </a:lnTo>
                  <a:lnTo>
                    <a:pt x="320" y="72"/>
                  </a:lnTo>
                  <a:lnTo>
                    <a:pt x="328" y="88"/>
                  </a:lnTo>
                  <a:lnTo>
                    <a:pt x="344" y="88"/>
                  </a:lnTo>
                  <a:lnTo>
                    <a:pt x="352" y="72"/>
                  </a:lnTo>
                  <a:lnTo>
                    <a:pt x="360" y="64"/>
                  </a:lnTo>
                  <a:lnTo>
                    <a:pt x="368" y="88"/>
                  </a:lnTo>
                  <a:lnTo>
                    <a:pt x="360" y="96"/>
                  </a:lnTo>
                  <a:lnTo>
                    <a:pt x="360" y="112"/>
                  </a:lnTo>
                  <a:lnTo>
                    <a:pt x="360" y="128"/>
                  </a:lnTo>
                  <a:lnTo>
                    <a:pt x="336" y="152"/>
                  </a:lnTo>
                  <a:lnTo>
                    <a:pt x="336" y="168"/>
                  </a:lnTo>
                  <a:lnTo>
                    <a:pt x="360" y="168"/>
                  </a:lnTo>
                  <a:lnTo>
                    <a:pt x="368" y="184"/>
                  </a:lnTo>
                  <a:lnTo>
                    <a:pt x="360" y="192"/>
                  </a:lnTo>
                  <a:lnTo>
                    <a:pt x="360" y="208"/>
                  </a:lnTo>
                  <a:lnTo>
                    <a:pt x="360" y="232"/>
                  </a:lnTo>
                  <a:lnTo>
                    <a:pt x="368" y="232"/>
                  </a:lnTo>
                  <a:lnTo>
                    <a:pt x="368" y="248"/>
                  </a:lnTo>
                  <a:lnTo>
                    <a:pt x="344" y="256"/>
                  </a:lnTo>
                  <a:lnTo>
                    <a:pt x="344" y="272"/>
                  </a:lnTo>
                  <a:lnTo>
                    <a:pt x="344" y="280"/>
                  </a:lnTo>
                  <a:lnTo>
                    <a:pt x="320" y="272"/>
                  </a:lnTo>
                  <a:lnTo>
                    <a:pt x="312" y="288"/>
                  </a:lnTo>
                  <a:lnTo>
                    <a:pt x="280" y="288"/>
                  </a:lnTo>
                  <a:lnTo>
                    <a:pt x="272" y="312"/>
                  </a:lnTo>
                  <a:lnTo>
                    <a:pt x="248" y="320"/>
                  </a:lnTo>
                  <a:lnTo>
                    <a:pt x="232" y="304"/>
                  </a:lnTo>
                  <a:lnTo>
                    <a:pt x="224" y="280"/>
                  </a:lnTo>
                  <a:lnTo>
                    <a:pt x="208" y="288"/>
                  </a:lnTo>
                  <a:lnTo>
                    <a:pt x="208" y="304"/>
                  </a:lnTo>
                  <a:lnTo>
                    <a:pt x="192" y="304"/>
                  </a:lnTo>
                  <a:lnTo>
                    <a:pt x="152" y="328"/>
                  </a:lnTo>
                  <a:lnTo>
                    <a:pt x="144" y="352"/>
                  </a:lnTo>
                  <a:lnTo>
                    <a:pt x="96" y="328"/>
                  </a:lnTo>
                  <a:lnTo>
                    <a:pt x="80" y="328"/>
                  </a:lnTo>
                  <a:lnTo>
                    <a:pt x="48" y="344"/>
                  </a:ln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13" name="Freeform 22"/>
            <p:cNvSpPr/>
            <p:nvPr/>
          </p:nvSpPr>
          <p:spPr bwMode="auto">
            <a:xfrm>
              <a:off x="2303463" y="4432300"/>
              <a:ext cx="849312" cy="847725"/>
            </a:xfrm>
            <a:custGeom>
              <a:avLst/>
              <a:gdLst>
                <a:gd name="T0" fmla="*/ 528 w 569"/>
                <a:gd name="T1" fmla="*/ 448 h 617"/>
                <a:gd name="T2" fmla="*/ 560 w 569"/>
                <a:gd name="T3" fmla="*/ 416 h 617"/>
                <a:gd name="T4" fmla="*/ 528 w 569"/>
                <a:gd name="T5" fmla="*/ 408 h 617"/>
                <a:gd name="T6" fmla="*/ 496 w 569"/>
                <a:gd name="T7" fmla="*/ 384 h 617"/>
                <a:gd name="T8" fmla="*/ 464 w 569"/>
                <a:gd name="T9" fmla="*/ 360 h 617"/>
                <a:gd name="T10" fmla="*/ 480 w 569"/>
                <a:gd name="T11" fmla="*/ 320 h 617"/>
                <a:gd name="T12" fmla="*/ 472 w 569"/>
                <a:gd name="T13" fmla="*/ 248 h 617"/>
                <a:gd name="T14" fmla="*/ 424 w 569"/>
                <a:gd name="T15" fmla="*/ 224 h 617"/>
                <a:gd name="T16" fmla="*/ 416 w 569"/>
                <a:gd name="T17" fmla="*/ 176 h 617"/>
                <a:gd name="T18" fmla="*/ 448 w 569"/>
                <a:gd name="T19" fmla="*/ 168 h 617"/>
                <a:gd name="T20" fmla="*/ 512 w 569"/>
                <a:gd name="T21" fmla="*/ 160 h 617"/>
                <a:gd name="T22" fmla="*/ 512 w 569"/>
                <a:gd name="T23" fmla="*/ 112 h 617"/>
                <a:gd name="T24" fmla="*/ 464 w 569"/>
                <a:gd name="T25" fmla="*/ 112 h 617"/>
                <a:gd name="T26" fmla="*/ 432 w 569"/>
                <a:gd name="T27" fmla="*/ 64 h 617"/>
                <a:gd name="T28" fmla="*/ 408 w 569"/>
                <a:gd name="T29" fmla="*/ 96 h 617"/>
                <a:gd name="T30" fmla="*/ 384 w 569"/>
                <a:gd name="T31" fmla="*/ 144 h 617"/>
                <a:gd name="T32" fmla="*/ 368 w 569"/>
                <a:gd name="T33" fmla="*/ 240 h 617"/>
                <a:gd name="T34" fmla="*/ 336 w 569"/>
                <a:gd name="T35" fmla="*/ 224 h 617"/>
                <a:gd name="T36" fmla="*/ 288 w 569"/>
                <a:gd name="T37" fmla="*/ 240 h 617"/>
                <a:gd name="T38" fmla="*/ 272 w 569"/>
                <a:gd name="T39" fmla="*/ 224 h 617"/>
                <a:gd name="T40" fmla="*/ 232 w 569"/>
                <a:gd name="T41" fmla="*/ 104 h 617"/>
                <a:gd name="T42" fmla="*/ 216 w 569"/>
                <a:gd name="T43" fmla="*/ 112 h 617"/>
                <a:gd name="T44" fmla="*/ 208 w 569"/>
                <a:gd name="T45" fmla="*/ 72 h 617"/>
                <a:gd name="T46" fmla="*/ 160 w 569"/>
                <a:gd name="T47" fmla="*/ 40 h 617"/>
                <a:gd name="T48" fmla="*/ 136 w 569"/>
                <a:gd name="T49" fmla="*/ 80 h 617"/>
                <a:gd name="T50" fmla="*/ 136 w 569"/>
                <a:gd name="T51" fmla="*/ 0 h 617"/>
                <a:gd name="T52" fmla="*/ 112 w 569"/>
                <a:gd name="T53" fmla="*/ 0 h 617"/>
                <a:gd name="T54" fmla="*/ 96 w 569"/>
                <a:gd name="T55" fmla="*/ 32 h 617"/>
                <a:gd name="T56" fmla="*/ 88 w 569"/>
                <a:gd name="T57" fmla="*/ 64 h 617"/>
                <a:gd name="T58" fmla="*/ 80 w 569"/>
                <a:gd name="T59" fmla="*/ 96 h 617"/>
                <a:gd name="T60" fmla="*/ 104 w 569"/>
                <a:gd name="T61" fmla="*/ 112 h 617"/>
                <a:gd name="T62" fmla="*/ 88 w 569"/>
                <a:gd name="T63" fmla="*/ 240 h 617"/>
                <a:gd name="T64" fmla="*/ 24 w 569"/>
                <a:gd name="T65" fmla="*/ 280 h 617"/>
                <a:gd name="T66" fmla="*/ 8 w 569"/>
                <a:gd name="T67" fmla="*/ 312 h 617"/>
                <a:gd name="T68" fmla="*/ 0 w 569"/>
                <a:gd name="T69" fmla="*/ 376 h 617"/>
                <a:gd name="T70" fmla="*/ 48 w 569"/>
                <a:gd name="T71" fmla="*/ 368 h 617"/>
                <a:gd name="T72" fmla="*/ 80 w 569"/>
                <a:gd name="T73" fmla="*/ 392 h 617"/>
                <a:gd name="T74" fmla="*/ 88 w 569"/>
                <a:gd name="T75" fmla="*/ 408 h 617"/>
                <a:gd name="T76" fmla="*/ 96 w 569"/>
                <a:gd name="T77" fmla="*/ 448 h 617"/>
                <a:gd name="T78" fmla="*/ 120 w 569"/>
                <a:gd name="T79" fmla="*/ 464 h 617"/>
                <a:gd name="T80" fmla="*/ 112 w 569"/>
                <a:gd name="T81" fmla="*/ 504 h 617"/>
                <a:gd name="T82" fmla="*/ 104 w 569"/>
                <a:gd name="T83" fmla="*/ 528 h 617"/>
                <a:gd name="T84" fmla="*/ 144 w 569"/>
                <a:gd name="T85" fmla="*/ 560 h 617"/>
                <a:gd name="T86" fmla="*/ 200 w 569"/>
                <a:gd name="T87" fmla="*/ 576 h 617"/>
                <a:gd name="T88" fmla="*/ 224 w 569"/>
                <a:gd name="T89" fmla="*/ 568 h 617"/>
                <a:gd name="T90" fmla="*/ 232 w 569"/>
                <a:gd name="T91" fmla="*/ 600 h 617"/>
                <a:gd name="T92" fmla="*/ 264 w 569"/>
                <a:gd name="T93" fmla="*/ 592 h 617"/>
                <a:gd name="T94" fmla="*/ 272 w 569"/>
                <a:gd name="T95" fmla="*/ 512 h 617"/>
                <a:gd name="T96" fmla="*/ 328 w 569"/>
                <a:gd name="T97" fmla="*/ 504 h 617"/>
                <a:gd name="T98" fmla="*/ 352 w 569"/>
                <a:gd name="T99" fmla="*/ 512 h 617"/>
                <a:gd name="T100" fmla="*/ 384 w 569"/>
                <a:gd name="T101" fmla="*/ 512 h 617"/>
                <a:gd name="T102" fmla="*/ 416 w 569"/>
                <a:gd name="T103" fmla="*/ 520 h 617"/>
                <a:gd name="T104" fmla="*/ 440 w 569"/>
                <a:gd name="T105" fmla="*/ 504 h 617"/>
                <a:gd name="T106" fmla="*/ 488 w 569"/>
                <a:gd name="T107" fmla="*/ 472 h 617"/>
                <a:gd name="T108" fmla="*/ 520 w 569"/>
                <a:gd name="T109" fmla="*/ 464 h 617"/>
                <a:gd name="T110" fmla="*/ 0 w 569"/>
                <a:gd name="T111" fmla="*/ 0 h 617"/>
                <a:gd name="T112" fmla="*/ 569 w 569"/>
                <a:gd name="T113" fmla="*/ 617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T110" t="T111" r="T112" b="T113"/>
              <a:pathLst>
                <a:path w="569" h="617">
                  <a:moveTo>
                    <a:pt x="520" y="464"/>
                  </a:moveTo>
                  <a:lnTo>
                    <a:pt x="528" y="448"/>
                  </a:lnTo>
                  <a:lnTo>
                    <a:pt x="568" y="448"/>
                  </a:lnTo>
                  <a:lnTo>
                    <a:pt x="560" y="416"/>
                  </a:lnTo>
                  <a:lnTo>
                    <a:pt x="552" y="400"/>
                  </a:lnTo>
                  <a:lnTo>
                    <a:pt x="528" y="408"/>
                  </a:lnTo>
                  <a:lnTo>
                    <a:pt x="504" y="400"/>
                  </a:lnTo>
                  <a:lnTo>
                    <a:pt x="496" y="384"/>
                  </a:lnTo>
                  <a:lnTo>
                    <a:pt x="464" y="384"/>
                  </a:lnTo>
                  <a:lnTo>
                    <a:pt x="464" y="360"/>
                  </a:lnTo>
                  <a:lnTo>
                    <a:pt x="464" y="344"/>
                  </a:lnTo>
                  <a:lnTo>
                    <a:pt x="480" y="320"/>
                  </a:lnTo>
                  <a:lnTo>
                    <a:pt x="448" y="288"/>
                  </a:lnTo>
                  <a:lnTo>
                    <a:pt x="472" y="248"/>
                  </a:lnTo>
                  <a:lnTo>
                    <a:pt x="472" y="216"/>
                  </a:lnTo>
                  <a:lnTo>
                    <a:pt x="424" y="224"/>
                  </a:lnTo>
                  <a:lnTo>
                    <a:pt x="424" y="184"/>
                  </a:lnTo>
                  <a:lnTo>
                    <a:pt x="416" y="176"/>
                  </a:lnTo>
                  <a:lnTo>
                    <a:pt x="432" y="160"/>
                  </a:lnTo>
                  <a:lnTo>
                    <a:pt x="448" y="168"/>
                  </a:lnTo>
                  <a:lnTo>
                    <a:pt x="464" y="152"/>
                  </a:lnTo>
                  <a:lnTo>
                    <a:pt x="512" y="160"/>
                  </a:lnTo>
                  <a:lnTo>
                    <a:pt x="528" y="136"/>
                  </a:lnTo>
                  <a:lnTo>
                    <a:pt x="512" y="112"/>
                  </a:lnTo>
                  <a:lnTo>
                    <a:pt x="488" y="128"/>
                  </a:lnTo>
                  <a:lnTo>
                    <a:pt x="464" y="112"/>
                  </a:lnTo>
                  <a:lnTo>
                    <a:pt x="464" y="64"/>
                  </a:lnTo>
                  <a:lnTo>
                    <a:pt x="432" y="64"/>
                  </a:lnTo>
                  <a:lnTo>
                    <a:pt x="424" y="96"/>
                  </a:lnTo>
                  <a:lnTo>
                    <a:pt x="408" y="96"/>
                  </a:lnTo>
                  <a:lnTo>
                    <a:pt x="408" y="120"/>
                  </a:lnTo>
                  <a:lnTo>
                    <a:pt x="384" y="144"/>
                  </a:lnTo>
                  <a:lnTo>
                    <a:pt x="368" y="144"/>
                  </a:lnTo>
                  <a:lnTo>
                    <a:pt x="368" y="240"/>
                  </a:lnTo>
                  <a:lnTo>
                    <a:pt x="344" y="240"/>
                  </a:lnTo>
                  <a:lnTo>
                    <a:pt x="336" y="224"/>
                  </a:lnTo>
                  <a:lnTo>
                    <a:pt x="320" y="240"/>
                  </a:lnTo>
                  <a:lnTo>
                    <a:pt x="288" y="240"/>
                  </a:lnTo>
                  <a:lnTo>
                    <a:pt x="288" y="232"/>
                  </a:lnTo>
                  <a:lnTo>
                    <a:pt x="272" y="224"/>
                  </a:lnTo>
                  <a:lnTo>
                    <a:pt x="272" y="192"/>
                  </a:lnTo>
                  <a:lnTo>
                    <a:pt x="232" y="104"/>
                  </a:lnTo>
                  <a:lnTo>
                    <a:pt x="216" y="104"/>
                  </a:lnTo>
                  <a:lnTo>
                    <a:pt x="216" y="112"/>
                  </a:lnTo>
                  <a:lnTo>
                    <a:pt x="200" y="88"/>
                  </a:lnTo>
                  <a:lnTo>
                    <a:pt x="208" y="72"/>
                  </a:lnTo>
                  <a:lnTo>
                    <a:pt x="176" y="32"/>
                  </a:lnTo>
                  <a:lnTo>
                    <a:pt x="160" y="40"/>
                  </a:lnTo>
                  <a:lnTo>
                    <a:pt x="152" y="80"/>
                  </a:lnTo>
                  <a:lnTo>
                    <a:pt x="136" y="80"/>
                  </a:lnTo>
                  <a:lnTo>
                    <a:pt x="136" y="64"/>
                  </a:lnTo>
                  <a:lnTo>
                    <a:pt x="136" y="0"/>
                  </a:lnTo>
                  <a:lnTo>
                    <a:pt x="120" y="16"/>
                  </a:lnTo>
                  <a:lnTo>
                    <a:pt x="112" y="0"/>
                  </a:lnTo>
                  <a:lnTo>
                    <a:pt x="96" y="16"/>
                  </a:lnTo>
                  <a:lnTo>
                    <a:pt x="96" y="32"/>
                  </a:lnTo>
                  <a:lnTo>
                    <a:pt x="104" y="64"/>
                  </a:lnTo>
                  <a:lnTo>
                    <a:pt x="88" y="64"/>
                  </a:lnTo>
                  <a:lnTo>
                    <a:pt x="72" y="64"/>
                  </a:lnTo>
                  <a:lnTo>
                    <a:pt x="80" y="96"/>
                  </a:lnTo>
                  <a:lnTo>
                    <a:pt x="80" y="112"/>
                  </a:lnTo>
                  <a:lnTo>
                    <a:pt x="104" y="112"/>
                  </a:lnTo>
                  <a:lnTo>
                    <a:pt x="104" y="168"/>
                  </a:lnTo>
                  <a:lnTo>
                    <a:pt x="88" y="240"/>
                  </a:lnTo>
                  <a:lnTo>
                    <a:pt x="40" y="272"/>
                  </a:lnTo>
                  <a:lnTo>
                    <a:pt x="24" y="280"/>
                  </a:lnTo>
                  <a:lnTo>
                    <a:pt x="16" y="288"/>
                  </a:lnTo>
                  <a:lnTo>
                    <a:pt x="8" y="312"/>
                  </a:lnTo>
                  <a:lnTo>
                    <a:pt x="8" y="360"/>
                  </a:lnTo>
                  <a:lnTo>
                    <a:pt x="0" y="376"/>
                  </a:lnTo>
                  <a:lnTo>
                    <a:pt x="32" y="376"/>
                  </a:lnTo>
                  <a:lnTo>
                    <a:pt x="48" y="368"/>
                  </a:lnTo>
                  <a:lnTo>
                    <a:pt x="88" y="376"/>
                  </a:lnTo>
                  <a:lnTo>
                    <a:pt x="80" y="392"/>
                  </a:lnTo>
                  <a:lnTo>
                    <a:pt x="72" y="392"/>
                  </a:lnTo>
                  <a:lnTo>
                    <a:pt x="88" y="408"/>
                  </a:lnTo>
                  <a:lnTo>
                    <a:pt x="80" y="432"/>
                  </a:lnTo>
                  <a:lnTo>
                    <a:pt x="96" y="448"/>
                  </a:lnTo>
                  <a:lnTo>
                    <a:pt x="120" y="448"/>
                  </a:lnTo>
                  <a:lnTo>
                    <a:pt x="120" y="464"/>
                  </a:lnTo>
                  <a:lnTo>
                    <a:pt x="112" y="472"/>
                  </a:lnTo>
                  <a:lnTo>
                    <a:pt x="112" y="504"/>
                  </a:lnTo>
                  <a:lnTo>
                    <a:pt x="96" y="504"/>
                  </a:lnTo>
                  <a:lnTo>
                    <a:pt x="104" y="528"/>
                  </a:lnTo>
                  <a:lnTo>
                    <a:pt x="144" y="528"/>
                  </a:lnTo>
                  <a:lnTo>
                    <a:pt x="144" y="560"/>
                  </a:lnTo>
                  <a:lnTo>
                    <a:pt x="160" y="568"/>
                  </a:lnTo>
                  <a:lnTo>
                    <a:pt x="200" y="576"/>
                  </a:lnTo>
                  <a:lnTo>
                    <a:pt x="216" y="560"/>
                  </a:lnTo>
                  <a:lnTo>
                    <a:pt x="224" y="568"/>
                  </a:lnTo>
                  <a:lnTo>
                    <a:pt x="216" y="592"/>
                  </a:lnTo>
                  <a:lnTo>
                    <a:pt x="232" y="600"/>
                  </a:lnTo>
                  <a:lnTo>
                    <a:pt x="264" y="616"/>
                  </a:lnTo>
                  <a:lnTo>
                    <a:pt x="264" y="592"/>
                  </a:lnTo>
                  <a:lnTo>
                    <a:pt x="264" y="520"/>
                  </a:lnTo>
                  <a:lnTo>
                    <a:pt x="272" y="512"/>
                  </a:lnTo>
                  <a:lnTo>
                    <a:pt x="320" y="512"/>
                  </a:lnTo>
                  <a:lnTo>
                    <a:pt x="328" y="504"/>
                  </a:lnTo>
                  <a:lnTo>
                    <a:pt x="344" y="504"/>
                  </a:lnTo>
                  <a:lnTo>
                    <a:pt x="352" y="512"/>
                  </a:lnTo>
                  <a:lnTo>
                    <a:pt x="376" y="504"/>
                  </a:lnTo>
                  <a:lnTo>
                    <a:pt x="384" y="512"/>
                  </a:lnTo>
                  <a:lnTo>
                    <a:pt x="392" y="504"/>
                  </a:lnTo>
                  <a:lnTo>
                    <a:pt x="416" y="520"/>
                  </a:lnTo>
                  <a:lnTo>
                    <a:pt x="416" y="504"/>
                  </a:lnTo>
                  <a:lnTo>
                    <a:pt x="440" y="504"/>
                  </a:lnTo>
                  <a:lnTo>
                    <a:pt x="480" y="496"/>
                  </a:lnTo>
                  <a:lnTo>
                    <a:pt x="488" y="472"/>
                  </a:lnTo>
                  <a:lnTo>
                    <a:pt x="504" y="464"/>
                  </a:lnTo>
                  <a:lnTo>
                    <a:pt x="520" y="464"/>
                  </a:ln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14" name="Freeform 23"/>
            <p:cNvSpPr/>
            <p:nvPr/>
          </p:nvSpPr>
          <p:spPr bwMode="auto">
            <a:xfrm>
              <a:off x="717550" y="3452813"/>
              <a:ext cx="1804988" cy="1079500"/>
            </a:xfrm>
            <a:custGeom>
              <a:avLst/>
              <a:gdLst>
                <a:gd name="T0" fmla="*/ 1184 w 1209"/>
                <a:gd name="T1" fmla="*/ 728 h 785"/>
                <a:gd name="T2" fmla="*/ 1160 w 1209"/>
                <a:gd name="T3" fmla="*/ 728 h 785"/>
                <a:gd name="T4" fmla="*/ 1160 w 1209"/>
                <a:gd name="T5" fmla="*/ 784 h 785"/>
                <a:gd name="T6" fmla="*/ 1112 w 1209"/>
                <a:gd name="T7" fmla="*/ 760 h 785"/>
                <a:gd name="T8" fmla="*/ 1088 w 1209"/>
                <a:gd name="T9" fmla="*/ 752 h 785"/>
                <a:gd name="T10" fmla="*/ 1024 w 1209"/>
                <a:gd name="T11" fmla="*/ 720 h 785"/>
                <a:gd name="T12" fmla="*/ 1040 w 1209"/>
                <a:gd name="T13" fmla="*/ 696 h 785"/>
                <a:gd name="T14" fmla="*/ 1032 w 1209"/>
                <a:gd name="T15" fmla="*/ 680 h 785"/>
                <a:gd name="T16" fmla="*/ 1000 w 1209"/>
                <a:gd name="T17" fmla="*/ 664 h 785"/>
                <a:gd name="T18" fmla="*/ 976 w 1209"/>
                <a:gd name="T19" fmla="*/ 680 h 785"/>
                <a:gd name="T20" fmla="*/ 928 w 1209"/>
                <a:gd name="T21" fmla="*/ 648 h 785"/>
                <a:gd name="T22" fmla="*/ 832 w 1209"/>
                <a:gd name="T23" fmla="*/ 696 h 785"/>
                <a:gd name="T24" fmla="*/ 808 w 1209"/>
                <a:gd name="T25" fmla="*/ 720 h 785"/>
                <a:gd name="T26" fmla="*/ 728 w 1209"/>
                <a:gd name="T27" fmla="*/ 736 h 785"/>
                <a:gd name="T28" fmla="*/ 656 w 1209"/>
                <a:gd name="T29" fmla="*/ 712 h 785"/>
                <a:gd name="T30" fmla="*/ 632 w 1209"/>
                <a:gd name="T31" fmla="*/ 680 h 785"/>
                <a:gd name="T32" fmla="*/ 584 w 1209"/>
                <a:gd name="T33" fmla="*/ 704 h 785"/>
                <a:gd name="T34" fmla="*/ 536 w 1209"/>
                <a:gd name="T35" fmla="*/ 728 h 785"/>
                <a:gd name="T36" fmla="*/ 456 w 1209"/>
                <a:gd name="T37" fmla="*/ 672 h 785"/>
                <a:gd name="T38" fmla="*/ 408 w 1209"/>
                <a:gd name="T39" fmla="*/ 640 h 785"/>
                <a:gd name="T40" fmla="*/ 360 w 1209"/>
                <a:gd name="T41" fmla="*/ 624 h 785"/>
                <a:gd name="T42" fmla="*/ 320 w 1209"/>
                <a:gd name="T43" fmla="*/ 592 h 785"/>
                <a:gd name="T44" fmla="*/ 272 w 1209"/>
                <a:gd name="T45" fmla="*/ 520 h 785"/>
                <a:gd name="T46" fmla="*/ 248 w 1209"/>
                <a:gd name="T47" fmla="*/ 512 h 785"/>
                <a:gd name="T48" fmla="*/ 208 w 1209"/>
                <a:gd name="T49" fmla="*/ 456 h 785"/>
                <a:gd name="T50" fmla="*/ 160 w 1209"/>
                <a:gd name="T51" fmla="*/ 384 h 785"/>
                <a:gd name="T52" fmla="*/ 120 w 1209"/>
                <a:gd name="T53" fmla="*/ 408 h 785"/>
                <a:gd name="T54" fmla="*/ 64 w 1209"/>
                <a:gd name="T55" fmla="*/ 328 h 785"/>
                <a:gd name="T56" fmla="*/ 32 w 1209"/>
                <a:gd name="T57" fmla="*/ 272 h 785"/>
                <a:gd name="T58" fmla="*/ 0 w 1209"/>
                <a:gd name="T59" fmla="*/ 256 h 785"/>
                <a:gd name="T60" fmla="*/ 16 w 1209"/>
                <a:gd name="T61" fmla="*/ 176 h 785"/>
                <a:gd name="T62" fmla="*/ 48 w 1209"/>
                <a:gd name="T63" fmla="*/ 192 h 785"/>
                <a:gd name="T64" fmla="*/ 80 w 1209"/>
                <a:gd name="T65" fmla="*/ 184 h 785"/>
                <a:gd name="T66" fmla="*/ 80 w 1209"/>
                <a:gd name="T67" fmla="*/ 128 h 785"/>
                <a:gd name="T68" fmla="*/ 56 w 1209"/>
                <a:gd name="T69" fmla="*/ 96 h 785"/>
                <a:gd name="T70" fmla="*/ 80 w 1209"/>
                <a:gd name="T71" fmla="*/ 48 h 785"/>
                <a:gd name="T72" fmla="*/ 152 w 1209"/>
                <a:gd name="T73" fmla="*/ 40 h 785"/>
                <a:gd name="T74" fmla="*/ 208 w 1209"/>
                <a:gd name="T75" fmla="*/ 8 h 785"/>
                <a:gd name="T76" fmla="*/ 288 w 1209"/>
                <a:gd name="T77" fmla="*/ 16 h 785"/>
                <a:gd name="T78" fmla="*/ 344 w 1209"/>
                <a:gd name="T79" fmla="*/ 56 h 785"/>
                <a:gd name="T80" fmla="*/ 432 w 1209"/>
                <a:gd name="T81" fmla="*/ 56 h 785"/>
                <a:gd name="T82" fmla="*/ 528 w 1209"/>
                <a:gd name="T83" fmla="*/ 40 h 785"/>
                <a:gd name="T84" fmla="*/ 664 w 1209"/>
                <a:gd name="T85" fmla="*/ 56 h 785"/>
                <a:gd name="T86" fmla="*/ 712 w 1209"/>
                <a:gd name="T87" fmla="*/ 72 h 785"/>
                <a:gd name="T88" fmla="*/ 704 w 1209"/>
                <a:gd name="T89" fmla="*/ 96 h 785"/>
                <a:gd name="T90" fmla="*/ 728 w 1209"/>
                <a:gd name="T91" fmla="*/ 136 h 785"/>
                <a:gd name="T92" fmla="*/ 712 w 1209"/>
                <a:gd name="T93" fmla="*/ 184 h 785"/>
                <a:gd name="T94" fmla="*/ 696 w 1209"/>
                <a:gd name="T95" fmla="*/ 248 h 785"/>
                <a:gd name="T96" fmla="*/ 736 w 1209"/>
                <a:gd name="T97" fmla="*/ 320 h 785"/>
                <a:gd name="T98" fmla="*/ 832 w 1209"/>
                <a:gd name="T99" fmla="*/ 368 h 785"/>
                <a:gd name="T100" fmla="*/ 936 w 1209"/>
                <a:gd name="T101" fmla="*/ 416 h 785"/>
                <a:gd name="T102" fmla="*/ 992 w 1209"/>
                <a:gd name="T103" fmla="*/ 424 h 785"/>
                <a:gd name="T104" fmla="*/ 1008 w 1209"/>
                <a:gd name="T105" fmla="*/ 480 h 785"/>
                <a:gd name="T106" fmla="*/ 1040 w 1209"/>
                <a:gd name="T107" fmla="*/ 496 h 785"/>
                <a:gd name="T108" fmla="*/ 1056 w 1209"/>
                <a:gd name="T109" fmla="*/ 472 h 785"/>
                <a:gd name="T110" fmla="*/ 1080 w 1209"/>
                <a:gd name="T111" fmla="*/ 480 h 785"/>
                <a:gd name="T112" fmla="*/ 1096 w 1209"/>
                <a:gd name="T113" fmla="*/ 464 h 785"/>
                <a:gd name="T114" fmla="*/ 1136 w 1209"/>
                <a:gd name="T115" fmla="*/ 440 h 785"/>
                <a:gd name="T116" fmla="*/ 1176 w 1209"/>
                <a:gd name="T117" fmla="*/ 456 h 785"/>
                <a:gd name="T118" fmla="*/ 1208 w 1209"/>
                <a:gd name="T119" fmla="*/ 536 h 785"/>
                <a:gd name="T120" fmla="*/ 1208 w 1209"/>
                <a:gd name="T121" fmla="*/ 576 h 785"/>
                <a:gd name="T122" fmla="*/ 1200 w 1209"/>
                <a:gd name="T123" fmla="*/ 712 h 785"/>
                <a:gd name="T124" fmla="*/ 0 w 1209"/>
                <a:gd name="T125" fmla="*/ 0 h 785"/>
                <a:gd name="T126" fmla="*/ 1209 w 1209"/>
                <a:gd name="T127" fmla="*/ 785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T124" t="T125" r="T126" b="T127"/>
              <a:pathLst>
                <a:path w="1209" h="785">
                  <a:moveTo>
                    <a:pt x="1200" y="712"/>
                  </a:moveTo>
                  <a:lnTo>
                    <a:pt x="1184" y="728"/>
                  </a:lnTo>
                  <a:lnTo>
                    <a:pt x="1176" y="712"/>
                  </a:lnTo>
                  <a:lnTo>
                    <a:pt x="1160" y="728"/>
                  </a:lnTo>
                  <a:lnTo>
                    <a:pt x="1168" y="776"/>
                  </a:lnTo>
                  <a:lnTo>
                    <a:pt x="1160" y="784"/>
                  </a:lnTo>
                  <a:lnTo>
                    <a:pt x="1136" y="776"/>
                  </a:lnTo>
                  <a:lnTo>
                    <a:pt x="1112" y="760"/>
                  </a:lnTo>
                  <a:lnTo>
                    <a:pt x="1112" y="744"/>
                  </a:lnTo>
                  <a:lnTo>
                    <a:pt x="1088" y="752"/>
                  </a:lnTo>
                  <a:lnTo>
                    <a:pt x="1024" y="728"/>
                  </a:lnTo>
                  <a:lnTo>
                    <a:pt x="1024" y="720"/>
                  </a:lnTo>
                  <a:lnTo>
                    <a:pt x="1040" y="712"/>
                  </a:lnTo>
                  <a:lnTo>
                    <a:pt x="1040" y="696"/>
                  </a:lnTo>
                  <a:lnTo>
                    <a:pt x="1024" y="688"/>
                  </a:lnTo>
                  <a:lnTo>
                    <a:pt x="1032" y="680"/>
                  </a:lnTo>
                  <a:lnTo>
                    <a:pt x="1016" y="656"/>
                  </a:lnTo>
                  <a:lnTo>
                    <a:pt x="1000" y="664"/>
                  </a:lnTo>
                  <a:lnTo>
                    <a:pt x="984" y="672"/>
                  </a:lnTo>
                  <a:lnTo>
                    <a:pt x="976" y="680"/>
                  </a:lnTo>
                  <a:lnTo>
                    <a:pt x="960" y="680"/>
                  </a:lnTo>
                  <a:lnTo>
                    <a:pt x="928" y="648"/>
                  </a:lnTo>
                  <a:lnTo>
                    <a:pt x="864" y="696"/>
                  </a:lnTo>
                  <a:lnTo>
                    <a:pt x="832" y="696"/>
                  </a:lnTo>
                  <a:lnTo>
                    <a:pt x="824" y="720"/>
                  </a:lnTo>
                  <a:lnTo>
                    <a:pt x="808" y="720"/>
                  </a:lnTo>
                  <a:lnTo>
                    <a:pt x="760" y="744"/>
                  </a:lnTo>
                  <a:lnTo>
                    <a:pt x="728" y="736"/>
                  </a:lnTo>
                  <a:lnTo>
                    <a:pt x="712" y="712"/>
                  </a:lnTo>
                  <a:lnTo>
                    <a:pt x="656" y="712"/>
                  </a:lnTo>
                  <a:lnTo>
                    <a:pt x="664" y="688"/>
                  </a:lnTo>
                  <a:lnTo>
                    <a:pt x="632" y="680"/>
                  </a:lnTo>
                  <a:lnTo>
                    <a:pt x="600" y="680"/>
                  </a:lnTo>
                  <a:lnTo>
                    <a:pt x="584" y="704"/>
                  </a:lnTo>
                  <a:lnTo>
                    <a:pt x="552" y="728"/>
                  </a:lnTo>
                  <a:lnTo>
                    <a:pt x="536" y="728"/>
                  </a:lnTo>
                  <a:lnTo>
                    <a:pt x="544" y="680"/>
                  </a:lnTo>
                  <a:lnTo>
                    <a:pt x="456" y="672"/>
                  </a:lnTo>
                  <a:lnTo>
                    <a:pt x="424" y="640"/>
                  </a:lnTo>
                  <a:lnTo>
                    <a:pt x="408" y="640"/>
                  </a:lnTo>
                  <a:lnTo>
                    <a:pt x="392" y="648"/>
                  </a:lnTo>
                  <a:lnTo>
                    <a:pt x="360" y="624"/>
                  </a:lnTo>
                  <a:lnTo>
                    <a:pt x="336" y="600"/>
                  </a:lnTo>
                  <a:lnTo>
                    <a:pt x="320" y="592"/>
                  </a:lnTo>
                  <a:lnTo>
                    <a:pt x="280" y="544"/>
                  </a:lnTo>
                  <a:lnTo>
                    <a:pt x="272" y="520"/>
                  </a:lnTo>
                  <a:lnTo>
                    <a:pt x="264" y="512"/>
                  </a:lnTo>
                  <a:lnTo>
                    <a:pt x="248" y="512"/>
                  </a:lnTo>
                  <a:lnTo>
                    <a:pt x="224" y="464"/>
                  </a:lnTo>
                  <a:lnTo>
                    <a:pt x="208" y="456"/>
                  </a:lnTo>
                  <a:lnTo>
                    <a:pt x="192" y="424"/>
                  </a:lnTo>
                  <a:lnTo>
                    <a:pt x="160" y="384"/>
                  </a:lnTo>
                  <a:lnTo>
                    <a:pt x="144" y="384"/>
                  </a:lnTo>
                  <a:lnTo>
                    <a:pt x="120" y="408"/>
                  </a:lnTo>
                  <a:lnTo>
                    <a:pt x="96" y="376"/>
                  </a:lnTo>
                  <a:lnTo>
                    <a:pt x="64" y="328"/>
                  </a:lnTo>
                  <a:lnTo>
                    <a:pt x="40" y="304"/>
                  </a:lnTo>
                  <a:lnTo>
                    <a:pt x="32" y="272"/>
                  </a:lnTo>
                  <a:lnTo>
                    <a:pt x="8" y="280"/>
                  </a:lnTo>
                  <a:lnTo>
                    <a:pt x="0" y="256"/>
                  </a:lnTo>
                  <a:lnTo>
                    <a:pt x="8" y="248"/>
                  </a:lnTo>
                  <a:lnTo>
                    <a:pt x="16" y="176"/>
                  </a:lnTo>
                  <a:lnTo>
                    <a:pt x="32" y="168"/>
                  </a:lnTo>
                  <a:lnTo>
                    <a:pt x="48" y="192"/>
                  </a:lnTo>
                  <a:lnTo>
                    <a:pt x="64" y="184"/>
                  </a:lnTo>
                  <a:lnTo>
                    <a:pt x="80" y="184"/>
                  </a:lnTo>
                  <a:lnTo>
                    <a:pt x="72" y="144"/>
                  </a:lnTo>
                  <a:lnTo>
                    <a:pt x="80" y="128"/>
                  </a:lnTo>
                  <a:lnTo>
                    <a:pt x="56" y="120"/>
                  </a:lnTo>
                  <a:lnTo>
                    <a:pt x="56" y="96"/>
                  </a:lnTo>
                  <a:lnTo>
                    <a:pt x="64" y="56"/>
                  </a:lnTo>
                  <a:lnTo>
                    <a:pt x="80" y="48"/>
                  </a:lnTo>
                  <a:lnTo>
                    <a:pt x="120" y="56"/>
                  </a:lnTo>
                  <a:lnTo>
                    <a:pt x="152" y="40"/>
                  </a:lnTo>
                  <a:lnTo>
                    <a:pt x="176" y="0"/>
                  </a:lnTo>
                  <a:lnTo>
                    <a:pt x="208" y="8"/>
                  </a:lnTo>
                  <a:lnTo>
                    <a:pt x="272" y="32"/>
                  </a:lnTo>
                  <a:lnTo>
                    <a:pt x="288" y="16"/>
                  </a:lnTo>
                  <a:lnTo>
                    <a:pt x="336" y="24"/>
                  </a:lnTo>
                  <a:lnTo>
                    <a:pt x="344" y="56"/>
                  </a:lnTo>
                  <a:lnTo>
                    <a:pt x="408" y="72"/>
                  </a:lnTo>
                  <a:lnTo>
                    <a:pt x="432" y="56"/>
                  </a:lnTo>
                  <a:lnTo>
                    <a:pt x="504" y="56"/>
                  </a:lnTo>
                  <a:lnTo>
                    <a:pt x="528" y="40"/>
                  </a:lnTo>
                  <a:lnTo>
                    <a:pt x="640" y="32"/>
                  </a:lnTo>
                  <a:lnTo>
                    <a:pt x="664" y="56"/>
                  </a:lnTo>
                  <a:lnTo>
                    <a:pt x="696" y="64"/>
                  </a:lnTo>
                  <a:lnTo>
                    <a:pt x="712" y="72"/>
                  </a:lnTo>
                  <a:lnTo>
                    <a:pt x="720" y="88"/>
                  </a:lnTo>
                  <a:lnTo>
                    <a:pt x="704" y="96"/>
                  </a:lnTo>
                  <a:lnTo>
                    <a:pt x="728" y="104"/>
                  </a:lnTo>
                  <a:lnTo>
                    <a:pt x="728" y="136"/>
                  </a:lnTo>
                  <a:lnTo>
                    <a:pt x="704" y="168"/>
                  </a:lnTo>
                  <a:lnTo>
                    <a:pt x="712" y="184"/>
                  </a:lnTo>
                  <a:lnTo>
                    <a:pt x="704" y="232"/>
                  </a:lnTo>
                  <a:lnTo>
                    <a:pt x="696" y="248"/>
                  </a:lnTo>
                  <a:lnTo>
                    <a:pt x="712" y="296"/>
                  </a:lnTo>
                  <a:lnTo>
                    <a:pt x="736" y="320"/>
                  </a:lnTo>
                  <a:lnTo>
                    <a:pt x="784" y="320"/>
                  </a:lnTo>
                  <a:lnTo>
                    <a:pt x="832" y="368"/>
                  </a:lnTo>
                  <a:lnTo>
                    <a:pt x="864" y="376"/>
                  </a:lnTo>
                  <a:lnTo>
                    <a:pt x="936" y="416"/>
                  </a:lnTo>
                  <a:lnTo>
                    <a:pt x="968" y="400"/>
                  </a:lnTo>
                  <a:lnTo>
                    <a:pt x="992" y="424"/>
                  </a:lnTo>
                  <a:lnTo>
                    <a:pt x="1016" y="448"/>
                  </a:lnTo>
                  <a:lnTo>
                    <a:pt x="1008" y="480"/>
                  </a:lnTo>
                  <a:lnTo>
                    <a:pt x="1040" y="480"/>
                  </a:lnTo>
                  <a:lnTo>
                    <a:pt x="1040" y="496"/>
                  </a:lnTo>
                  <a:lnTo>
                    <a:pt x="1064" y="496"/>
                  </a:lnTo>
                  <a:lnTo>
                    <a:pt x="1056" y="472"/>
                  </a:lnTo>
                  <a:lnTo>
                    <a:pt x="1072" y="472"/>
                  </a:lnTo>
                  <a:lnTo>
                    <a:pt x="1080" y="480"/>
                  </a:lnTo>
                  <a:lnTo>
                    <a:pt x="1096" y="480"/>
                  </a:lnTo>
                  <a:lnTo>
                    <a:pt x="1096" y="464"/>
                  </a:lnTo>
                  <a:lnTo>
                    <a:pt x="1120" y="464"/>
                  </a:lnTo>
                  <a:lnTo>
                    <a:pt x="1136" y="440"/>
                  </a:lnTo>
                  <a:lnTo>
                    <a:pt x="1152" y="432"/>
                  </a:lnTo>
                  <a:lnTo>
                    <a:pt x="1176" y="456"/>
                  </a:lnTo>
                  <a:lnTo>
                    <a:pt x="1176" y="480"/>
                  </a:lnTo>
                  <a:lnTo>
                    <a:pt x="1208" y="536"/>
                  </a:lnTo>
                  <a:lnTo>
                    <a:pt x="1192" y="544"/>
                  </a:lnTo>
                  <a:lnTo>
                    <a:pt x="1208" y="576"/>
                  </a:lnTo>
                  <a:lnTo>
                    <a:pt x="1208" y="608"/>
                  </a:lnTo>
                  <a:lnTo>
                    <a:pt x="1200" y="712"/>
                  </a:ln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15" name="Freeform 24"/>
            <p:cNvSpPr/>
            <p:nvPr/>
          </p:nvSpPr>
          <p:spPr bwMode="auto">
            <a:xfrm>
              <a:off x="2413000" y="3894138"/>
              <a:ext cx="1133475" cy="869950"/>
            </a:xfrm>
            <a:custGeom>
              <a:avLst/>
              <a:gdLst>
                <a:gd name="T0" fmla="*/ 696 w 761"/>
                <a:gd name="T1" fmla="*/ 488 h 633"/>
                <a:gd name="T2" fmla="*/ 672 w 761"/>
                <a:gd name="T3" fmla="*/ 504 h 633"/>
                <a:gd name="T4" fmla="*/ 656 w 761"/>
                <a:gd name="T5" fmla="*/ 488 h 633"/>
                <a:gd name="T6" fmla="*/ 608 w 761"/>
                <a:gd name="T7" fmla="*/ 432 h 633"/>
                <a:gd name="T8" fmla="*/ 584 w 761"/>
                <a:gd name="T9" fmla="*/ 424 h 633"/>
                <a:gd name="T10" fmla="*/ 552 w 761"/>
                <a:gd name="T11" fmla="*/ 440 h 633"/>
                <a:gd name="T12" fmla="*/ 536 w 761"/>
                <a:gd name="T13" fmla="*/ 472 h 633"/>
                <a:gd name="T14" fmla="*/ 512 w 761"/>
                <a:gd name="T15" fmla="*/ 464 h 633"/>
                <a:gd name="T16" fmla="*/ 472 w 761"/>
                <a:gd name="T17" fmla="*/ 472 h 633"/>
                <a:gd name="T18" fmla="*/ 504 w 761"/>
                <a:gd name="T19" fmla="*/ 496 h 633"/>
                <a:gd name="T20" fmla="*/ 456 w 761"/>
                <a:gd name="T21" fmla="*/ 528 h 633"/>
                <a:gd name="T22" fmla="*/ 416 w 761"/>
                <a:gd name="T23" fmla="*/ 520 h 633"/>
                <a:gd name="T24" fmla="*/ 392 w 761"/>
                <a:gd name="T25" fmla="*/ 456 h 633"/>
                <a:gd name="T26" fmla="*/ 360 w 761"/>
                <a:gd name="T27" fmla="*/ 488 h 633"/>
                <a:gd name="T28" fmla="*/ 336 w 761"/>
                <a:gd name="T29" fmla="*/ 504 h 633"/>
                <a:gd name="T30" fmla="*/ 296 w 761"/>
                <a:gd name="T31" fmla="*/ 536 h 633"/>
                <a:gd name="T32" fmla="*/ 272 w 761"/>
                <a:gd name="T33" fmla="*/ 632 h 633"/>
                <a:gd name="T34" fmla="*/ 248 w 761"/>
                <a:gd name="T35" fmla="*/ 632 h 633"/>
                <a:gd name="T36" fmla="*/ 216 w 761"/>
                <a:gd name="T37" fmla="*/ 624 h 633"/>
                <a:gd name="T38" fmla="*/ 200 w 761"/>
                <a:gd name="T39" fmla="*/ 576 h 633"/>
                <a:gd name="T40" fmla="*/ 144 w 761"/>
                <a:gd name="T41" fmla="*/ 496 h 633"/>
                <a:gd name="T42" fmla="*/ 128 w 761"/>
                <a:gd name="T43" fmla="*/ 480 h 633"/>
                <a:gd name="T44" fmla="*/ 104 w 761"/>
                <a:gd name="T45" fmla="*/ 424 h 633"/>
                <a:gd name="T46" fmla="*/ 80 w 761"/>
                <a:gd name="T47" fmla="*/ 464 h 633"/>
                <a:gd name="T48" fmla="*/ 72 w 761"/>
                <a:gd name="T49" fmla="*/ 248 h 633"/>
                <a:gd name="T50" fmla="*/ 72 w 761"/>
                <a:gd name="T51" fmla="*/ 216 h 633"/>
                <a:gd name="T52" fmla="*/ 40 w 761"/>
                <a:gd name="T53" fmla="*/ 136 h 633"/>
                <a:gd name="T54" fmla="*/ 0 w 761"/>
                <a:gd name="T55" fmla="*/ 104 h 633"/>
                <a:gd name="T56" fmla="*/ 8 w 761"/>
                <a:gd name="T57" fmla="*/ 64 h 633"/>
                <a:gd name="T58" fmla="*/ 16 w 761"/>
                <a:gd name="T59" fmla="*/ 32 h 633"/>
                <a:gd name="T60" fmla="*/ 32 w 761"/>
                <a:gd name="T61" fmla="*/ 0 h 633"/>
                <a:gd name="T62" fmla="*/ 64 w 761"/>
                <a:gd name="T63" fmla="*/ 16 h 633"/>
                <a:gd name="T64" fmla="*/ 88 w 761"/>
                <a:gd name="T65" fmla="*/ 80 h 633"/>
                <a:gd name="T66" fmla="*/ 128 w 761"/>
                <a:gd name="T67" fmla="*/ 120 h 633"/>
                <a:gd name="T68" fmla="*/ 152 w 761"/>
                <a:gd name="T69" fmla="*/ 104 h 633"/>
                <a:gd name="T70" fmla="*/ 176 w 761"/>
                <a:gd name="T71" fmla="*/ 128 h 633"/>
                <a:gd name="T72" fmla="*/ 224 w 761"/>
                <a:gd name="T73" fmla="*/ 96 h 633"/>
                <a:gd name="T74" fmla="*/ 288 w 761"/>
                <a:gd name="T75" fmla="*/ 96 h 633"/>
                <a:gd name="T76" fmla="*/ 296 w 761"/>
                <a:gd name="T77" fmla="*/ 40 h 633"/>
                <a:gd name="T78" fmla="*/ 320 w 761"/>
                <a:gd name="T79" fmla="*/ 32 h 633"/>
                <a:gd name="T80" fmla="*/ 344 w 761"/>
                <a:gd name="T81" fmla="*/ 48 h 633"/>
                <a:gd name="T82" fmla="*/ 400 w 761"/>
                <a:gd name="T83" fmla="*/ 72 h 633"/>
                <a:gd name="T84" fmla="*/ 416 w 761"/>
                <a:gd name="T85" fmla="*/ 136 h 633"/>
                <a:gd name="T86" fmla="*/ 472 w 761"/>
                <a:gd name="T87" fmla="*/ 160 h 633"/>
                <a:gd name="T88" fmla="*/ 512 w 761"/>
                <a:gd name="T89" fmla="*/ 136 h 633"/>
                <a:gd name="T90" fmla="*/ 552 w 761"/>
                <a:gd name="T91" fmla="*/ 144 h 633"/>
                <a:gd name="T92" fmla="*/ 624 w 761"/>
                <a:gd name="T93" fmla="*/ 184 h 633"/>
                <a:gd name="T94" fmla="*/ 704 w 761"/>
                <a:gd name="T95" fmla="*/ 224 h 633"/>
                <a:gd name="T96" fmla="*/ 760 w 761"/>
                <a:gd name="T97" fmla="*/ 256 h 633"/>
                <a:gd name="T98" fmla="*/ 744 w 761"/>
                <a:gd name="T99" fmla="*/ 296 h 633"/>
                <a:gd name="T100" fmla="*/ 664 w 761"/>
                <a:gd name="T101" fmla="*/ 312 h 633"/>
                <a:gd name="T102" fmla="*/ 648 w 761"/>
                <a:gd name="T103" fmla="*/ 336 h 633"/>
                <a:gd name="T104" fmla="*/ 656 w 761"/>
                <a:gd name="T105" fmla="*/ 360 h 633"/>
                <a:gd name="T106" fmla="*/ 656 w 761"/>
                <a:gd name="T107" fmla="*/ 376 h 633"/>
                <a:gd name="T108" fmla="*/ 704 w 761"/>
                <a:gd name="T109" fmla="*/ 456 h 633"/>
                <a:gd name="T110" fmla="*/ 0 w 761"/>
                <a:gd name="T111" fmla="*/ 0 h 633"/>
                <a:gd name="T112" fmla="*/ 761 w 761"/>
                <a:gd name="T113" fmla="*/ 633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T110" t="T111" r="T112" b="T113"/>
              <a:pathLst>
                <a:path w="761" h="633">
                  <a:moveTo>
                    <a:pt x="696" y="480"/>
                  </a:moveTo>
                  <a:lnTo>
                    <a:pt x="696" y="488"/>
                  </a:lnTo>
                  <a:lnTo>
                    <a:pt x="688" y="504"/>
                  </a:lnTo>
                  <a:lnTo>
                    <a:pt x="672" y="504"/>
                  </a:lnTo>
                  <a:lnTo>
                    <a:pt x="664" y="488"/>
                  </a:lnTo>
                  <a:lnTo>
                    <a:pt x="656" y="488"/>
                  </a:lnTo>
                  <a:lnTo>
                    <a:pt x="632" y="432"/>
                  </a:lnTo>
                  <a:lnTo>
                    <a:pt x="608" y="432"/>
                  </a:lnTo>
                  <a:lnTo>
                    <a:pt x="592" y="416"/>
                  </a:lnTo>
                  <a:lnTo>
                    <a:pt x="584" y="424"/>
                  </a:lnTo>
                  <a:lnTo>
                    <a:pt x="576" y="456"/>
                  </a:lnTo>
                  <a:lnTo>
                    <a:pt x="552" y="440"/>
                  </a:lnTo>
                  <a:lnTo>
                    <a:pt x="552" y="464"/>
                  </a:lnTo>
                  <a:lnTo>
                    <a:pt x="536" y="472"/>
                  </a:lnTo>
                  <a:lnTo>
                    <a:pt x="528" y="464"/>
                  </a:lnTo>
                  <a:lnTo>
                    <a:pt x="512" y="464"/>
                  </a:lnTo>
                  <a:lnTo>
                    <a:pt x="488" y="456"/>
                  </a:lnTo>
                  <a:lnTo>
                    <a:pt x="472" y="472"/>
                  </a:lnTo>
                  <a:lnTo>
                    <a:pt x="480" y="496"/>
                  </a:lnTo>
                  <a:lnTo>
                    <a:pt x="504" y="496"/>
                  </a:lnTo>
                  <a:lnTo>
                    <a:pt x="512" y="528"/>
                  </a:lnTo>
                  <a:lnTo>
                    <a:pt x="456" y="528"/>
                  </a:lnTo>
                  <a:lnTo>
                    <a:pt x="440" y="504"/>
                  </a:lnTo>
                  <a:lnTo>
                    <a:pt x="416" y="520"/>
                  </a:lnTo>
                  <a:lnTo>
                    <a:pt x="392" y="504"/>
                  </a:lnTo>
                  <a:lnTo>
                    <a:pt x="392" y="456"/>
                  </a:lnTo>
                  <a:lnTo>
                    <a:pt x="360" y="456"/>
                  </a:lnTo>
                  <a:lnTo>
                    <a:pt x="360" y="488"/>
                  </a:lnTo>
                  <a:lnTo>
                    <a:pt x="336" y="496"/>
                  </a:lnTo>
                  <a:lnTo>
                    <a:pt x="336" y="504"/>
                  </a:lnTo>
                  <a:lnTo>
                    <a:pt x="312" y="536"/>
                  </a:lnTo>
                  <a:lnTo>
                    <a:pt x="296" y="536"/>
                  </a:lnTo>
                  <a:lnTo>
                    <a:pt x="296" y="632"/>
                  </a:lnTo>
                  <a:lnTo>
                    <a:pt x="272" y="632"/>
                  </a:lnTo>
                  <a:lnTo>
                    <a:pt x="264" y="616"/>
                  </a:lnTo>
                  <a:lnTo>
                    <a:pt x="248" y="632"/>
                  </a:lnTo>
                  <a:lnTo>
                    <a:pt x="216" y="632"/>
                  </a:lnTo>
                  <a:lnTo>
                    <a:pt x="216" y="624"/>
                  </a:lnTo>
                  <a:lnTo>
                    <a:pt x="200" y="616"/>
                  </a:lnTo>
                  <a:lnTo>
                    <a:pt x="200" y="576"/>
                  </a:lnTo>
                  <a:lnTo>
                    <a:pt x="160" y="496"/>
                  </a:lnTo>
                  <a:lnTo>
                    <a:pt x="144" y="496"/>
                  </a:lnTo>
                  <a:lnTo>
                    <a:pt x="144" y="504"/>
                  </a:lnTo>
                  <a:lnTo>
                    <a:pt x="128" y="480"/>
                  </a:lnTo>
                  <a:lnTo>
                    <a:pt x="136" y="472"/>
                  </a:lnTo>
                  <a:lnTo>
                    <a:pt x="104" y="424"/>
                  </a:lnTo>
                  <a:lnTo>
                    <a:pt x="88" y="432"/>
                  </a:lnTo>
                  <a:lnTo>
                    <a:pt x="80" y="464"/>
                  </a:lnTo>
                  <a:lnTo>
                    <a:pt x="64" y="472"/>
                  </a:lnTo>
                  <a:lnTo>
                    <a:pt x="72" y="248"/>
                  </a:lnTo>
                  <a:lnTo>
                    <a:pt x="56" y="224"/>
                  </a:lnTo>
                  <a:lnTo>
                    <a:pt x="72" y="216"/>
                  </a:lnTo>
                  <a:lnTo>
                    <a:pt x="40" y="160"/>
                  </a:lnTo>
                  <a:lnTo>
                    <a:pt x="40" y="136"/>
                  </a:lnTo>
                  <a:lnTo>
                    <a:pt x="16" y="112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8" y="64"/>
                  </a:lnTo>
                  <a:lnTo>
                    <a:pt x="24" y="48"/>
                  </a:lnTo>
                  <a:lnTo>
                    <a:pt x="16" y="32"/>
                  </a:lnTo>
                  <a:lnTo>
                    <a:pt x="16" y="0"/>
                  </a:lnTo>
                  <a:lnTo>
                    <a:pt x="32" y="0"/>
                  </a:lnTo>
                  <a:lnTo>
                    <a:pt x="40" y="16"/>
                  </a:lnTo>
                  <a:lnTo>
                    <a:pt x="64" y="16"/>
                  </a:lnTo>
                  <a:lnTo>
                    <a:pt x="88" y="40"/>
                  </a:lnTo>
                  <a:lnTo>
                    <a:pt x="88" y="80"/>
                  </a:lnTo>
                  <a:lnTo>
                    <a:pt x="104" y="80"/>
                  </a:lnTo>
                  <a:lnTo>
                    <a:pt x="128" y="120"/>
                  </a:lnTo>
                  <a:lnTo>
                    <a:pt x="152" y="112"/>
                  </a:lnTo>
                  <a:lnTo>
                    <a:pt x="152" y="104"/>
                  </a:lnTo>
                  <a:lnTo>
                    <a:pt x="160" y="112"/>
                  </a:lnTo>
                  <a:lnTo>
                    <a:pt x="176" y="128"/>
                  </a:lnTo>
                  <a:lnTo>
                    <a:pt x="216" y="128"/>
                  </a:lnTo>
                  <a:lnTo>
                    <a:pt x="224" y="96"/>
                  </a:lnTo>
                  <a:lnTo>
                    <a:pt x="256" y="88"/>
                  </a:lnTo>
                  <a:lnTo>
                    <a:pt x="288" y="96"/>
                  </a:lnTo>
                  <a:lnTo>
                    <a:pt x="304" y="72"/>
                  </a:lnTo>
                  <a:lnTo>
                    <a:pt x="296" y="40"/>
                  </a:lnTo>
                  <a:lnTo>
                    <a:pt x="296" y="32"/>
                  </a:lnTo>
                  <a:lnTo>
                    <a:pt x="320" y="32"/>
                  </a:lnTo>
                  <a:lnTo>
                    <a:pt x="336" y="24"/>
                  </a:lnTo>
                  <a:lnTo>
                    <a:pt x="344" y="48"/>
                  </a:lnTo>
                  <a:lnTo>
                    <a:pt x="384" y="72"/>
                  </a:lnTo>
                  <a:lnTo>
                    <a:pt x="400" y="72"/>
                  </a:lnTo>
                  <a:lnTo>
                    <a:pt x="400" y="88"/>
                  </a:lnTo>
                  <a:lnTo>
                    <a:pt x="416" y="136"/>
                  </a:lnTo>
                  <a:lnTo>
                    <a:pt x="432" y="152"/>
                  </a:lnTo>
                  <a:lnTo>
                    <a:pt x="472" y="160"/>
                  </a:lnTo>
                  <a:lnTo>
                    <a:pt x="496" y="128"/>
                  </a:lnTo>
                  <a:lnTo>
                    <a:pt x="512" y="136"/>
                  </a:lnTo>
                  <a:lnTo>
                    <a:pt x="520" y="152"/>
                  </a:lnTo>
                  <a:lnTo>
                    <a:pt x="552" y="144"/>
                  </a:lnTo>
                  <a:lnTo>
                    <a:pt x="592" y="176"/>
                  </a:lnTo>
                  <a:lnTo>
                    <a:pt x="624" y="184"/>
                  </a:lnTo>
                  <a:lnTo>
                    <a:pt x="656" y="192"/>
                  </a:lnTo>
                  <a:lnTo>
                    <a:pt x="704" y="224"/>
                  </a:lnTo>
                  <a:lnTo>
                    <a:pt x="728" y="232"/>
                  </a:lnTo>
                  <a:lnTo>
                    <a:pt x="760" y="256"/>
                  </a:lnTo>
                  <a:lnTo>
                    <a:pt x="760" y="296"/>
                  </a:lnTo>
                  <a:lnTo>
                    <a:pt x="744" y="296"/>
                  </a:lnTo>
                  <a:lnTo>
                    <a:pt x="712" y="312"/>
                  </a:lnTo>
                  <a:lnTo>
                    <a:pt x="664" y="312"/>
                  </a:lnTo>
                  <a:lnTo>
                    <a:pt x="648" y="328"/>
                  </a:lnTo>
                  <a:lnTo>
                    <a:pt x="648" y="336"/>
                  </a:lnTo>
                  <a:lnTo>
                    <a:pt x="656" y="352"/>
                  </a:lnTo>
                  <a:lnTo>
                    <a:pt x="656" y="360"/>
                  </a:lnTo>
                  <a:lnTo>
                    <a:pt x="648" y="376"/>
                  </a:lnTo>
                  <a:lnTo>
                    <a:pt x="656" y="376"/>
                  </a:lnTo>
                  <a:lnTo>
                    <a:pt x="696" y="424"/>
                  </a:lnTo>
                  <a:lnTo>
                    <a:pt x="704" y="456"/>
                  </a:lnTo>
                  <a:lnTo>
                    <a:pt x="696" y="480"/>
                  </a:lnTo>
                </a:path>
              </a:pathLst>
            </a:custGeom>
            <a:solidFill>
              <a:srgbClr val="F79646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lt1"/>
                </a:solidFill>
              </a:endParaRPr>
            </a:p>
          </p:txBody>
        </p:sp>
        <p:sp>
          <p:nvSpPr>
            <p:cNvPr id="116" name="Freeform 25"/>
            <p:cNvSpPr/>
            <p:nvPr/>
          </p:nvSpPr>
          <p:spPr bwMode="auto">
            <a:xfrm>
              <a:off x="1757363" y="3289300"/>
              <a:ext cx="1169987" cy="847725"/>
            </a:xfrm>
            <a:custGeom>
              <a:avLst/>
              <a:gdLst>
                <a:gd name="T0" fmla="*/ 672 w 785"/>
                <a:gd name="T1" fmla="*/ 536 h 617"/>
                <a:gd name="T2" fmla="*/ 616 w 785"/>
                <a:gd name="T3" fmla="*/ 568 h 617"/>
                <a:gd name="T4" fmla="*/ 592 w 785"/>
                <a:gd name="T5" fmla="*/ 544 h 617"/>
                <a:gd name="T6" fmla="*/ 568 w 785"/>
                <a:gd name="T7" fmla="*/ 560 h 617"/>
                <a:gd name="T8" fmla="*/ 528 w 785"/>
                <a:gd name="T9" fmla="*/ 520 h 617"/>
                <a:gd name="T10" fmla="*/ 504 w 785"/>
                <a:gd name="T11" fmla="*/ 456 h 617"/>
                <a:gd name="T12" fmla="*/ 472 w 785"/>
                <a:gd name="T13" fmla="*/ 440 h 617"/>
                <a:gd name="T14" fmla="*/ 456 w 785"/>
                <a:gd name="T15" fmla="*/ 456 h 617"/>
                <a:gd name="T16" fmla="*/ 464 w 785"/>
                <a:gd name="T17" fmla="*/ 480 h 617"/>
                <a:gd name="T18" fmla="*/ 440 w 785"/>
                <a:gd name="T19" fmla="*/ 536 h 617"/>
                <a:gd name="T20" fmla="*/ 456 w 785"/>
                <a:gd name="T21" fmla="*/ 552 h 617"/>
                <a:gd name="T22" fmla="*/ 424 w 785"/>
                <a:gd name="T23" fmla="*/ 584 h 617"/>
                <a:gd name="T24" fmla="*/ 400 w 785"/>
                <a:gd name="T25" fmla="*/ 600 h 617"/>
                <a:gd name="T26" fmla="*/ 376 w 785"/>
                <a:gd name="T27" fmla="*/ 592 h 617"/>
                <a:gd name="T28" fmla="*/ 368 w 785"/>
                <a:gd name="T29" fmla="*/ 608 h 617"/>
                <a:gd name="T30" fmla="*/ 336 w 785"/>
                <a:gd name="T31" fmla="*/ 600 h 617"/>
                <a:gd name="T32" fmla="*/ 320 w 785"/>
                <a:gd name="T33" fmla="*/ 568 h 617"/>
                <a:gd name="T34" fmla="*/ 232 w 785"/>
                <a:gd name="T35" fmla="*/ 536 h 617"/>
                <a:gd name="T36" fmla="*/ 136 w 785"/>
                <a:gd name="T37" fmla="*/ 496 h 617"/>
                <a:gd name="T38" fmla="*/ 40 w 785"/>
                <a:gd name="T39" fmla="*/ 440 h 617"/>
                <a:gd name="T40" fmla="*/ 0 w 785"/>
                <a:gd name="T41" fmla="*/ 368 h 617"/>
                <a:gd name="T42" fmla="*/ 16 w 785"/>
                <a:gd name="T43" fmla="*/ 304 h 617"/>
                <a:gd name="T44" fmla="*/ 32 w 785"/>
                <a:gd name="T45" fmla="*/ 248 h 617"/>
                <a:gd name="T46" fmla="*/ 8 w 785"/>
                <a:gd name="T47" fmla="*/ 216 h 617"/>
                <a:gd name="T48" fmla="*/ 48 w 785"/>
                <a:gd name="T49" fmla="*/ 208 h 617"/>
                <a:gd name="T50" fmla="*/ 104 w 785"/>
                <a:gd name="T51" fmla="*/ 224 h 617"/>
                <a:gd name="T52" fmla="*/ 96 w 785"/>
                <a:gd name="T53" fmla="*/ 184 h 617"/>
                <a:gd name="T54" fmla="*/ 128 w 785"/>
                <a:gd name="T55" fmla="*/ 136 h 617"/>
                <a:gd name="T56" fmla="*/ 88 w 785"/>
                <a:gd name="T57" fmla="*/ 72 h 617"/>
                <a:gd name="T58" fmla="*/ 152 w 785"/>
                <a:gd name="T59" fmla="*/ 16 h 617"/>
                <a:gd name="T60" fmla="*/ 288 w 785"/>
                <a:gd name="T61" fmla="*/ 0 h 617"/>
                <a:gd name="T62" fmla="*/ 384 w 785"/>
                <a:gd name="T63" fmla="*/ 40 h 617"/>
                <a:gd name="T64" fmla="*/ 456 w 785"/>
                <a:gd name="T65" fmla="*/ 104 h 617"/>
                <a:gd name="T66" fmla="*/ 472 w 785"/>
                <a:gd name="T67" fmla="*/ 48 h 617"/>
                <a:gd name="T68" fmla="*/ 528 w 785"/>
                <a:gd name="T69" fmla="*/ 72 h 617"/>
                <a:gd name="T70" fmla="*/ 592 w 785"/>
                <a:gd name="T71" fmla="*/ 96 h 617"/>
                <a:gd name="T72" fmla="*/ 656 w 785"/>
                <a:gd name="T73" fmla="*/ 120 h 617"/>
                <a:gd name="T74" fmla="*/ 728 w 785"/>
                <a:gd name="T75" fmla="*/ 176 h 617"/>
                <a:gd name="T76" fmla="*/ 768 w 785"/>
                <a:gd name="T77" fmla="*/ 232 h 617"/>
                <a:gd name="T78" fmla="*/ 784 w 785"/>
                <a:gd name="T79" fmla="*/ 336 h 617"/>
                <a:gd name="T80" fmla="*/ 752 w 785"/>
                <a:gd name="T81" fmla="*/ 360 h 617"/>
                <a:gd name="T82" fmla="*/ 712 w 785"/>
                <a:gd name="T83" fmla="*/ 408 h 617"/>
                <a:gd name="T84" fmla="*/ 736 w 785"/>
                <a:gd name="T85" fmla="*/ 432 h 617"/>
                <a:gd name="T86" fmla="*/ 704 w 785"/>
                <a:gd name="T87" fmla="*/ 456 h 617"/>
                <a:gd name="T88" fmla="*/ 656 w 785"/>
                <a:gd name="T89" fmla="*/ 448 h 617"/>
                <a:gd name="T90" fmla="*/ 664 w 785"/>
                <a:gd name="T91" fmla="*/ 488 h 617"/>
                <a:gd name="T92" fmla="*/ 712 w 785"/>
                <a:gd name="T93" fmla="*/ 504 h 617"/>
                <a:gd name="T94" fmla="*/ 0 w 785"/>
                <a:gd name="T95" fmla="*/ 0 h 617"/>
                <a:gd name="T96" fmla="*/ 785 w 785"/>
                <a:gd name="T97" fmla="*/ 617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T94" t="T95" r="T96" b="T97"/>
              <a:pathLst>
                <a:path w="785" h="617">
                  <a:moveTo>
                    <a:pt x="704" y="528"/>
                  </a:moveTo>
                  <a:lnTo>
                    <a:pt x="672" y="536"/>
                  </a:lnTo>
                  <a:lnTo>
                    <a:pt x="656" y="568"/>
                  </a:lnTo>
                  <a:lnTo>
                    <a:pt x="616" y="568"/>
                  </a:lnTo>
                  <a:lnTo>
                    <a:pt x="608" y="552"/>
                  </a:lnTo>
                  <a:lnTo>
                    <a:pt x="592" y="544"/>
                  </a:lnTo>
                  <a:lnTo>
                    <a:pt x="592" y="552"/>
                  </a:lnTo>
                  <a:lnTo>
                    <a:pt x="568" y="560"/>
                  </a:lnTo>
                  <a:lnTo>
                    <a:pt x="544" y="520"/>
                  </a:lnTo>
                  <a:lnTo>
                    <a:pt x="528" y="520"/>
                  </a:lnTo>
                  <a:lnTo>
                    <a:pt x="528" y="480"/>
                  </a:lnTo>
                  <a:lnTo>
                    <a:pt x="504" y="456"/>
                  </a:lnTo>
                  <a:lnTo>
                    <a:pt x="488" y="456"/>
                  </a:lnTo>
                  <a:lnTo>
                    <a:pt x="472" y="440"/>
                  </a:lnTo>
                  <a:lnTo>
                    <a:pt x="456" y="440"/>
                  </a:lnTo>
                  <a:lnTo>
                    <a:pt x="456" y="456"/>
                  </a:lnTo>
                  <a:lnTo>
                    <a:pt x="456" y="472"/>
                  </a:lnTo>
                  <a:lnTo>
                    <a:pt x="464" y="480"/>
                  </a:lnTo>
                  <a:lnTo>
                    <a:pt x="448" y="496"/>
                  </a:lnTo>
                  <a:lnTo>
                    <a:pt x="440" y="536"/>
                  </a:lnTo>
                  <a:lnTo>
                    <a:pt x="448" y="552"/>
                  </a:lnTo>
                  <a:lnTo>
                    <a:pt x="456" y="552"/>
                  </a:lnTo>
                  <a:lnTo>
                    <a:pt x="440" y="560"/>
                  </a:lnTo>
                  <a:lnTo>
                    <a:pt x="424" y="584"/>
                  </a:lnTo>
                  <a:lnTo>
                    <a:pt x="400" y="584"/>
                  </a:lnTo>
                  <a:lnTo>
                    <a:pt x="400" y="600"/>
                  </a:lnTo>
                  <a:lnTo>
                    <a:pt x="384" y="608"/>
                  </a:lnTo>
                  <a:lnTo>
                    <a:pt x="376" y="592"/>
                  </a:lnTo>
                  <a:lnTo>
                    <a:pt x="360" y="592"/>
                  </a:lnTo>
                  <a:lnTo>
                    <a:pt x="368" y="608"/>
                  </a:lnTo>
                  <a:lnTo>
                    <a:pt x="352" y="616"/>
                  </a:lnTo>
                  <a:lnTo>
                    <a:pt x="336" y="600"/>
                  </a:lnTo>
                  <a:lnTo>
                    <a:pt x="312" y="600"/>
                  </a:lnTo>
                  <a:lnTo>
                    <a:pt x="320" y="568"/>
                  </a:lnTo>
                  <a:lnTo>
                    <a:pt x="264" y="520"/>
                  </a:lnTo>
                  <a:lnTo>
                    <a:pt x="232" y="536"/>
                  </a:lnTo>
                  <a:lnTo>
                    <a:pt x="168" y="496"/>
                  </a:lnTo>
                  <a:lnTo>
                    <a:pt x="136" y="496"/>
                  </a:lnTo>
                  <a:lnTo>
                    <a:pt x="88" y="440"/>
                  </a:lnTo>
                  <a:lnTo>
                    <a:pt x="40" y="440"/>
                  </a:lnTo>
                  <a:lnTo>
                    <a:pt x="16" y="416"/>
                  </a:lnTo>
                  <a:lnTo>
                    <a:pt x="0" y="368"/>
                  </a:lnTo>
                  <a:lnTo>
                    <a:pt x="8" y="352"/>
                  </a:lnTo>
                  <a:lnTo>
                    <a:pt x="16" y="304"/>
                  </a:lnTo>
                  <a:lnTo>
                    <a:pt x="8" y="280"/>
                  </a:lnTo>
                  <a:lnTo>
                    <a:pt x="32" y="248"/>
                  </a:lnTo>
                  <a:lnTo>
                    <a:pt x="32" y="224"/>
                  </a:lnTo>
                  <a:lnTo>
                    <a:pt x="8" y="216"/>
                  </a:lnTo>
                  <a:lnTo>
                    <a:pt x="16" y="208"/>
                  </a:lnTo>
                  <a:lnTo>
                    <a:pt x="48" y="208"/>
                  </a:lnTo>
                  <a:lnTo>
                    <a:pt x="56" y="200"/>
                  </a:lnTo>
                  <a:lnTo>
                    <a:pt x="104" y="224"/>
                  </a:lnTo>
                  <a:lnTo>
                    <a:pt x="104" y="192"/>
                  </a:lnTo>
                  <a:lnTo>
                    <a:pt x="96" y="184"/>
                  </a:lnTo>
                  <a:lnTo>
                    <a:pt x="96" y="160"/>
                  </a:lnTo>
                  <a:lnTo>
                    <a:pt x="128" y="136"/>
                  </a:lnTo>
                  <a:lnTo>
                    <a:pt x="120" y="112"/>
                  </a:lnTo>
                  <a:lnTo>
                    <a:pt x="88" y="72"/>
                  </a:lnTo>
                  <a:lnTo>
                    <a:pt x="96" y="32"/>
                  </a:lnTo>
                  <a:lnTo>
                    <a:pt x="152" y="16"/>
                  </a:lnTo>
                  <a:lnTo>
                    <a:pt x="256" y="8"/>
                  </a:lnTo>
                  <a:lnTo>
                    <a:pt x="288" y="0"/>
                  </a:lnTo>
                  <a:lnTo>
                    <a:pt x="344" y="24"/>
                  </a:lnTo>
                  <a:lnTo>
                    <a:pt x="384" y="40"/>
                  </a:lnTo>
                  <a:lnTo>
                    <a:pt x="424" y="64"/>
                  </a:lnTo>
                  <a:lnTo>
                    <a:pt x="456" y="104"/>
                  </a:lnTo>
                  <a:lnTo>
                    <a:pt x="472" y="56"/>
                  </a:lnTo>
                  <a:lnTo>
                    <a:pt x="472" y="48"/>
                  </a:lnTo>
                  <a:lnTo>
                    <a:pt x="504" y="64"/>
                  </a:lnTo>
                  <a:lnTo>
                    <a:pt x="528" y="72"/>
                  </a:lnTo>
                  <a:lnTo>
                    <a:pt x="584" y="64"/>
                  </a:lnTo>
                  <a:lnTo>
                    <a:pt x="592" y="96"/>
                  </a:lnTo>
                  <a:lnTo>
                    <a:pt x="640" y="128"/>
                  </a:lnTo>
                  <a:lnTo>
                    <a:pt x="656" y="120"/>
                  </a:lnTo>
                  <a:lnTo>
                    <a:pt x="728" y="192"/>
                  </a:lnTo>
                  <a:lnTo>
                    <a:pt x="728" y="176"/>
                  </a:lnTo>
                  <a:lnTo>
                    <a:pt x="760" y="208"/>
                  </a:lnTo>
                  <a:lnTo>
                    <a:pt x="768" y="232"/>
                  </a:lnTo>
                  <a:lnTo>
                    <a:pt x="776" y="288"/>
                  </a:lnTo>
                  <a:lnTo>
                    <a:pt x="784" y="336"/>
                  </a:lnTo>
                  <a:lnTo>
                    <a:pt x="776" y="360"/>
                  </a:lnTo>
                  <a:lnTo>
                    <a:pt x="752" y="360"/>
                  </a:lnTo>
                  <a:lnTo>
                    <a:pt x="744" y="392"/>
                  </a:lnTo>
                  <a:lnTo>
                    <a:pt x="712" y="408"/>
                  </a:lnTo>
                  <a:lnTo>
                    <a:pt x="712" y="424"/>
                  </a:lnTo>
                  <a:lnTo>
                    <a:pt x="736" y="432"/>
                  </a:lnTo>
                  <a:lnTo>
                    <a:pt x="728" y="440"/>
                  </a:lnTo>
                  <a:lnTo>
                    <a:pt x="704" y="456"/>
                  </a:lnTo>
                  <a:lnTo>
                    <a:pt x="672" y="448"/>
                  </a:lnTo>
                  <a:lnTo>
                    <a:pt x="656" y="448"/>
                  </a:lnTo>
                  <a:lnTo>
                    <a:pt x="648" y="464"/>
                  </a:lnTo>
                  <a:lnTo>
                    <a:pt x="664" y="488"/>
                  </a:lnTo>
                  <a:lnTo>
                    <a:pt x="696" y="496"/>
                  </a:lnTo>
                  <a:lnTo>
                    <a:pt x="712" y="504"/>
                  </a:lnTo>
                  <a:lnTo>
                    <a:pt x="704" y="528"/>
                  </a:ln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17" name="Freeform 26"/>
            <p:cNvSpPr/>
            <p:nvPr/>
          </p:nvSpPr>
          <p:spPr bwMode="auto">
            <a:xfrm>
              <a:off x="3879850" y="4365625"/>
              <a:ext cx="454025" cy="587375"/>
            </a:xfrm>
            <a:custGeom>
              <a:avLst/>
              <a:gdLst>
                <a:gd name="T0" fmla="*/ 272 w 305"/>
                <a:gd name="T1" fmla="*/ 40 h 425"/>
                <a:gd name="T2" fmla="*/ 280 w 305"/>
                <a:gd name="T3" fmla="*/ 72 h 425"/>
                <a:gd name="T4" fmla="*/ 304 w 305"/>
                <a:gd name="T5" fmla="*/ 88 h 425"/>
                <a:gd name="T6" fmla="*/ 304 w 305"/>
                <a:gd name="T7" fmla="*/ 136 h 425"/>
                <a:gd name="T8" fmla="*/ 272 w 305"/>
                <a:gd name="T9" fmla="*/ 152 h 425"/>
                <a:gd name="T10" fmla="*/ 272 w 305"/>
                <a:gd name="T11" fmla="*/ 160 h 425"/>
                <a:gd name="T12" fmla="*/ 240 w 305"/>
                <a:gd name="T13" fmla="*/ 160 h 425"/>
                <a:gd name="T14" fmla="*/ 224 w 305"/>
                <a:gd name="T15" fmla="*/ 176 h 425"/>
                <a:gd name="T16" fmla="*/ 224 w 305"/>
                <a:gd name="T17" fmla="*/ 200 h 425"/>
                <a:gd name="T18" fmla="*/ 232 w 305"/>
                <a:gd name="T19" fmla="*/ 208 h 425"/>
                <a:gd name="T20" fmla="*/ 208 w 305"/>
                <a:gd name="T21" fmla="*/ 240 h 425"/>
                <a:gd name="T22" fmla="*/ 192 w 305"/>
                <a:gd name="T23" fmla="*/ 240 h 425"/>
                <a:gd name="T24" fmla="*/ 192 w 305"/>
                <a:gd name="T25" fmla="*/ 272 h 425"/>
                <a:gd name="T26" fmla="*/ 192 w 305"/>
                <a:gd name="T27" fmla="*/ 280 h 425"/>
                <a:gd name="T28" fmla="*/ 192 w 305"/>
                <a:gd name="T29" fmla="*/ 304 h 425"/>
                <a:gd name="T30" fmla="*/ 176 w 305"/>
                <a:gd name="T31" fmla="*/ 320 h 425"/>
                <a:gd name="T32" fmla="*/ 168 w 305"/>
                <a:gd name="T33" fmla="*/ 360 h 425"/>
                <a:gd name="T34" fmla="*/ 160 w 305"/>
                <a:gd name="T35" fmla="*/ 384 h 425"/>
                <a:gd name="T36" fmla="*/ 160 w 305"/>
                <a:gd name="T37" fmla="*/ 392 h 425"/>
                <a:gd name="T38" fmla="*/ 152 w 305"/>
                <a:gd name="T39" fmla="*/ 416 h 425"/>
                <a:gd name="T40" fmla="*/ 136 w 305"/>
                <a:gd name="T41" fmla="*/ 416 h 425"/>
                <a:gd name="T42" fmla="*/ 128 w 305"/>
                <a:gd name="T43" fmla="*/ 408 h 425"/>
                <a:gd name="T44" fmla="*/ 64 w 305"/>
                <a:gd name="T45" fmla="*/ 424 h 425"/>
                <a:gd name="T46" fmla="*/ 56 w 305"/>
                <a:gd name="T47" fmla="*/ 416 h 425"/>
                <a:gd name="T48" fmla="*/ 80 w 305"/>
                <a:gd name="T49" fmla="*/ 368 h 425"/>
                <a:gd name="T50" fmla="*/ 56 w 305"/>
                <a:gd name="T51" fmla="*/ 360 h 425"/>
                <a:gd name="T52" fmla="*/ 40 w 305"/>
                <a:gd name="T53" fmla="*/ 368 h 425"/>
                <a:gd name="T54" fmla="*/ 24 w 305"/>
                <a:gd name="T55" fmla="*/ 360 h 425"/>
                <a:gd name="T56" fmla="*/ 24 w 305"/>
                <a:gd name="T57" fmla="*/ 320 h 425"/>
                <a:gd name="T58" fmla="*/ 40 w 305"/>
                <a:gd name="T59" fmla="*/ 312 h 425"/>
                <a:gd name="T60" fmla="*/ 48 w 305"/>
                <a:gd name="T61" fmla="*/ 312 h 425"/>
                <a:gd name="T62" fmla="*/ 48 w 305"/>
                <a:gd name="T63" fmla="*/ 288 h 425"/>
                <a:gd name="T64" fmla="*/ 32 w 305"/>
                <a:gd name="T65" fmla="*/ 288 h 425"/>
                <a:gd name="T66" fmla="*/ 32 w 305"/>
                <a:gd name="T67" fmla="*/ 272 h 425"/>
                <a:gd name="T68" fmla="*/ 16 w 305"/>
                <a:gd name="T69" fmla="*/ 264 h 425"/>
                <a:gd name="T70" fmla="*/ 16 w 305"/>
                <a:gd name="T71" fmla="*/ 216 h 425"/>
                <a:gd name="T72" fmla="*/ 0 w 305"/>
                <a:gd name="T73" fmla="*/ 200 h 425"/>
                <a:gd name="T74" fmla="*/ 8 w 305"/>
                <a:gd name="T75" fmla="*/ 176 h 425"/>
                <a:gd name="T76" fmla="*/ 32 w 305"/>
                <a:gd name="T77" fmla="*/ 152 h 425"/>
                <a:gd name="T78" fmla="*/ 32 w 305"/>
                <a:gd name="T79" fmla="*/ 128 h 425"/>
                <a:gd name="T80" fmla="*/ 24 w 305"/>
                <a:gd name="T81" fmla="*/ 120 h 425"/>
                <a:gd name="T82" fmla="*/ 32 w 305"/>
                <a:gd name="T83" fmla="*/ 104 h 425"/>
                <a:gd name="T84" fmla="*/ 16 w 305"/>
                <a:gd name="T85" fmla="*/ 80 h 425"/>
                <a:gd name="T86" fmla="*/ 32 w 305"/>
                <a:gd name="T87" fmla="*/ 64 h 425"/>
                <a:gd name="T88" fmla="*/ 56 w 305"/>
                <a:gd name="T89" fmla="*/ 56 h 425"/>
                <a:gd name="T90" fmla="*/ 112 w 305"/>
                <a:gd name="T91" fmla="*/ 24 h 425"/>
                <a:gd name="T92" fmla="*/ 144 w 305"/>
                <a:gd name="T93" fmla="*/ 8 h 425"/>
                <a:gd name="T94" fmla="*/ 168 w 305"/>
                <a:gd name="T95" fmla="*/ 8 h 425"/>
                <a:gd name="T96" fmla="*/ 184 w 305"/>
                <a:gd name="T97" fmla="*/ 0 h 425"/>
                <a:gd name="T98" fmla="*/ 192 w 305"/>
                <a:gd name="T99" fmla="*/ 8 h 425"/>
                <a:gd name="T100" fmla="*/ 184 w 305"/>
                <a:gd name="T101" fmla="*/ 16 h 425"/>
                <a:gd name="T102" fmla="*/ 184 w 305"/>
                <a:gd name="T103" fmla="*/ 32 h 425"/>
                <a:gd name="T104" fmla="*/ 208 w 305"/>
                <a:gd name="T105" fmla="*/ 32 h 425"/>
                <a:gd name="T106" fmla="*/ 208 w 305"/>
                <a:gd name="T107" fmla="*/ 16 h 425"/>
                <a:gd name="T108" fmla="*/ 216 w 305"/>
                <a:gd name="T109" fmla="*/ 0 h 425"/>
                <a:gd name="T110" fmla="*/ 232 w 305"/>
                <a:gd name="T111" fmla="*/ 16 h 425"/>
                <a:gd name="T112" fmla="*/ 240 w 305"/>
                <a:gd name="T113" fmla="*/ 32 h 425"/>
                <a:gd name="T114" fmla="*/ 272 w 305"/>
                <a:gd name="T115" fmla="*/ 32 h 425"/>
                <a:gd name="T116" fmla="*/ 272 w 305"/>
                <a:gd name="T117" fmla="*/ 40 h 425"/>
                <a:gd name="T118" fmla="*/ 0 w 305"/>
                <a:gd name="T119" fmla="*/ 0 h 425"/>
                <a:gd name="T120" fmla="*/ 305 w 305"/>
                <a:gd name="T121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T118" t="T119" r="T120" b="T121"/>
              <a:pathLst>
                <a:path w="305" h="425">
                  <a:moveTo>
                    <a:pt x="272" y="40"/>
                  </a:moveTo>
                  <a:lnTo>
                    <a:pt x="280" y="72"/>
                  </a:lnTo>
                  <a:lnTo>
                    <a:pt x="304" y="88"/>
                  </a:lnTo>
                  <a:lnTo>
                    <a:pt x="304" y="136"/>
                  </a:lnTo>
                  <a:lnTo>
                    <a:pt x="272" y="152"/>
                  </a:lnTo>
                  <a:lnTo>
                    <a:pt x="272" y="160"/>
                  </a:lnTo>
                  <a:lnTo>
                    <a:pt x="240" y="160"/>
                  </a:lnTo>
                  <a:lnTo>
                    <a:pt x="224" y="176"/>
                  </a:lnTo>
                  <a:lnTo>
                    <a:pt x="224" y="200"/>
                  </a:lnTo>
                  <a:lnTo>
                    <a:pt x="232" y="208"/>
                  </a:lnTo>
                  <a:lnTo>
                    <a:pt x="208" y="240"/>
                  </a:lnTo>
                  <a:lnTo>
                    <a:pt x="192" y="240"/>
                  </a:lnTo>
                  <a:lnTo>
                    <a:pt x="192" y="272"/>
                  </a:lnTo>
                  <a:lnTo>
                    <a:pt x="192" y="280"/>
                  </a:lnTo>
                  <a:lnTo>
                    <a:pt x="192" y="304"/>
                  </a:lnTo>
                  <a:lnTo>
                    <a:pt x="176" y="320"/>
                  </a:lnTo>
                  <a:lnTo>
                    <a:pt x="168" y="360"/>
                  </a:lnTo>
                  <a:lnTo>
                    <a:pt x="160" y="384"/>
                  </a:lnTo>
                  <a:lnTo>
                    <a:pt x="160" y="392"/>
                  </a:lnTo>
                  <a:lnTo>
                    <a:pt x="152" y="416"/>
                  </a:lnTo>
                  <a:lnTo>
                    <a:pt x="136" y="416"/>
                  </a:lnTo>
                  <a:lnTo>
                    <a:pt x="128" y="408"/>
                  </a:lnTo>
                  <a:lnTo>
                    <a:pt x="64" y="424"/>
                  </a:lnTo>
                  <a:lnTo>
                    <a:pt x="56" y="416"/>
                  </a:lnTo>
                  <a:lnTo>
                    <a:pt x="80" y="368"/>
                  </a:lnTo>
                  <a:lnTo>
                    <a:pt x="56" y="360"/>
                  </a:lnTo>
                  <a:lnTo>
                    <a:pt x="40" y="368"/>
                  </a:lnTo>
                  <a:lnTo>
                    <a:pt x="24" y="360"/>
                  </a:lnTo>
                  <a:lnTo>
                    <a:pt x="24" y="320"/>
                  </a:lnTo>
                  <a:lnTo>
                    <a:pt x="40" y="312"/>
                  </a:lnTo>
                  <a:lnTo>
                    <a:pt x="48" y="312"/>
                  </a:lnTo>
                  <a:lnTo>
                    <a:pt x="48" y="288"/>
                  </a:lnTo>
                  <a:lnTo>
                    <a:pt x="32" y="288"/>
                  </a:lnTo>
                  <a:lnTo>
                    <a:pt x="32" y="272"/>
                  </a:lnTo>
                  <a:lnTo>
                    <a:pt x="16" y="264"/>
                  </a:lnTo>
                  <a:lnTo>
                    <a:pt x="16" y="216"/>
                  </a:lnTo>
                  <a:lnTo>
                    <a:pt x="0" y="200"/>
                  </a:lnTo>
                  <a:lnTo>
                    <a:pt x="8" y="176"/>
                  </a:lnTo>
                  <a:lnTo>
                    <a:pt x="32" y="152"/>
                  </a:lnTo>
                  <a:lnTo>
                    <a:pt x="32" y="128"/>
                  </a:lnTo>
                  <a:lnTo>
                    <a:pt x="24" y="120"/>
                  </a:lnTo>
                  <a:lnTo>
                    <a:pt x="32" y="104"/>
                  </a:lnTo>
                  <a:lnTo>
                    <a:pt x="16" y="80"/>
                  </a:lnTo>
                  <a:lnTo>
                    <a:pt x="32" y="64"/>
                  </a:lnTo>
                  <a:lnTo>
                    <a:pt x="56" y="56"/>
                  </a:lnTo>
                  <a:lnTo>
                    <a:pt x="112" y="24"/>
                  </a:lnTo>
                  <a:lnTo>
                    <a:pt x="144" y="8"/>
                  </a:lnTo>
                  <a:lnTo>
                    <a:pt x="168" y="8"/>
                  </a:lnTo>
                  <a:lnTo>
                    <a:pt x="184" y="0"/>
                  </a:lnTo>
                  <a:lnTo>
                    <a:pt x="192" y="8"/>
                  </a:lnTo>
                  <a:lnTo>
                    <a:pt x="184" y="16"/>
                  </a:lnTo>
                  <a:lnTo>
                    <a:pt x="184" y="32"/>
                  </a:lnTo>
                  <a:lnTo>
                    <a:pt x="208" y="32"/>
                  </a:lnTo>
                  <a:lnTo>
                    <a:pt x="208" y="16"/>
                  </a:lnTo>
                  <a:lnTo>
                    <a:pt x="216" y="0"/>
                  </a:lnTo>
                  <a:lnTo>
                    <a:pt x="232" y="16"/>
                  </a:lnTo>
                  <a:lnTo>
                    <a:pt x="240" y="32"/>
                  </a:lnTo>
                  <a:lnTo>
                    <a:pt x="272" y="32"/>
                  </a:lnTo>
                  <a:lnTo>
                    <a:pt x="272" y="40"/>
                  </a:ln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8" name="Freeform 27"/>
            <p:cNvSpPr/>
            <p:nvPr/>
          </p:nvSpPr>
          <p:spPr bwMode="auto">
            <a:xfrm>
              <a:off x="3424238" y="4365625"/>
              <a:ext cx="527050" cy="576263"/>
            </a:xfrm>
            <a:custGeom>
              <a:avLst/>
              <a:gdLst>
                <a:gd name="T0" fmla="*/ 336 w 353"/>
                <a:gd name="T1" fmla="*/ 104 h 417"/>
                <a:gd name="T2" fmla="*/ 344 w 353"/>
                <a:gd name="T3" fmla="*/ 128 h 417"/>
                <a:gd name="T4" fmla="*/ 312 w 353"/>
                <a:gd name="T5" fmla="*/ 176 h 417"/>
                <a:gd name="T6" fmla="*/ 320 w 353"/>
                <a:gd name="T7" fmla="*/ 216 h 417"/>
                <a:gd name="T8" fmla="*/ 320 w 353"/>
                <a:gd name="T9" fmla="*/ 264 h 417"/>
                <a:gd name="T10" fmla="*/ 328 w 353"/>
                <a:gd name="T11" fmla="*/ 288 h 417"/>
                <a:gd name="T12" fmla="*/ 352 w 353"/>
                <a:gd name="T13" fmla="*/ 312 h 417"/>
                <a:gd name="T14" fmla="*/ 328 w 353"/>
                <a:gd name="T15" fmla="*/ 320 h 417"/>
                <a:gd name="T16" fmla="*/ 320 w 353"/>
                <a:gd name="T17" fmla="*/ 368 h 417"/>
                <a:gd name="T18" fmla="*/ 272 w 353"/>
                <a:gd name="T19" fmla="*/ 400 h 417"/>
                <a:gd name="T20" fmla="*/ 224 w 353"/>
                <a:gd name="T21" fmla="*/ 376 h 417"/>
                <a:gd name="T22" fmla="*/ 216 w 353"/>
                <a:gd name="T23" fmla="*/ 408 h 417"/>
                <a:gd name="T24" fmla="*/ 192 w 353"/>
                <a:gd name="T25" fmla="*/ 416 h 417"/>
                <a:gd name="T26" fmla="*/ 168 w 353"/>
                <a:gd name="T27" fmla="*/ 384 h 417"/>
                <a:gd name="T28" fmla="*/ 152 w 353"/>
                <a:gd name="T29" fmla="*/ 400 h 417"/>
                <a:gd name="T30" fmla="*/ 144 w 353"/>
                <a:gd name="T31" fmla="*/ 352 h 417"/>
                <a:gd name="T32" fmla="*/ 152 w 353"/>
                <a:gd name="T33" fmla="*/ 312 h 417"/>
                <a:gd name="T34" fmla="*/ 144 w 353"/>
                <a:gd name="T35" fmla="*/ 288 h 417"/>
                <a:gd name="T36" fmla="*/ 96 w 353"/>
                <a:gd name="T37" fmla="*/ 312 h 417"/>
                <a:gd name="T38" fmla="*/ 64 w 353"/>
                <a:gd name="T39" fmla="*/ 304 h 417"/>
                <a:gd name="T40" fmla="*/ 32 w 353"/>
                <a:gd name="T41" fmla="*/ 312 h 417"/>
                <a:gd name="T42" fmla="*/ 24 w 353"/>
                <a:gd name="T43" fmla="*/ 304 h 417"/>
                <a:gd name="T44" fmla="*/ 16 w 353"/>
                <a:gd name="T45" fmla="*/ 264 h 417"/>
                <a:gd name="T46" fmla="*/ 24 w 353"/>
                <a:gd name="T47" fmla="*/ 240 h 417"/>
                <a:gd name="T48" fmla="*/ 0 w 353"/>
                <a:gd name="T49" fmla="*/ 224 h 417"/>
                <a:gd name="T50" fmla="*/ 24 w 353"/>
                <a:gd name="T51" fmla="*/ 168 h 417"/>
                <a:gd name="T52" fmla="*/ 24 w 353"/>
                <a:gd name="T53" fmla="*/ 136 h 417"/>
                <a:gd name="T54" fmla="*/ 24 w 353"/>
                <a:gd name="T55" fmla="*/ 120 h 417"/>
                <a:gd name="T56" fmla="*/ 48 w 353"/>
                <a:gd name="T57" fmla="*/ 32 h 417"/>
                <a:gd name="T58" fmla="*/ 104 w 353"/>
                <a:gd name="T59" fmla="*/ 40 h 417"/>
                <a:gd name="T60" fmla="*/ 112 w 353"/>
                <a:gd name="T61" fmla="*/ 0 h 417"/>
                <a:gd name="T62" fmla="*/ 184 w 353"/>
                <a:gd name="T63" fmla="*/ 16 h 417"/>
                <a:gd name="T64" fmla="*/ 248 w 353"/>
                <a:gd name="T65" fmla="*/ 40 h 417"/>
                <a:gd name="T66" fmla="*/ 288 w 353"/>
                <a:gd name="T67" fmla="*/ 32 h 417"/>
                <a:gd name="T68" fmla="*/ 304 w 353"/>
                <a:gd name="T69" fmla="*/ 80 h 417"/>
                <a:gd name="T70" fmla="*/ 0 w 353"/>
                <a:gd name="T71" fmla="*/ 0 h 417"/>
                <a:gd name="T72" fmla="*/ 353 w 353"/>
                <a:gd name="T73" fmla="*/ 417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T70" t="T71" r="T72" b="T73"/>
              <a:pathLst>
                <a:path w="353" h="417">
                  <a:moveTo>
                    <a:pt x="320" y="80"/>
                  </a:moveTo>
                  <a:lnTo>
                    <a:pt x="336" y="104"/>
                  </a:lnTo>
                  <a:lnTo>
                    <a:pt x="328" y="120"/>
                  </a:lnTo>
                  <a:lnTo>
                    <a:pt x="344" y="128"/>
                  </a:lnTo>
                  <a:lnTo>
                    <a:pt x="328" y="152"/>
                  </a:lnTo>
                  <a:lnTo>
                    <a:pt x="312" y="176"/>
                  </a:lnTo>
                  <a:lnTo>
                    <a:pt x="304" y="200"/>
                  </a:lnTo>
                  <a:lnTo>
                    <a:pt x="320" y="216"/>
                  </a:lnTo>
                  <a:lnTo>
                    <a:pt x="320" y="248"/>
                  </a:lnTo>
                  <a:lnTo>
                    <a:pt x="320" y="264"/>
                  </a:lnTo>
                  <a:lnTo>
                    <a:pt x="336" y="272"/>
                  </a:lnTo>
                  <a:lnTo>
                    <a:pt x="328" y="288"/>
                  </a:lnTo>
                  <a:lnTo>
                    <a:pt x="352" y="288"/>
                  </a:lnTo>
                  <a:lnTo>
                    <a:pt x="352" y="312"/>
                  </a:lnTo>
                  <a:lnTo>
                    <a:pt x="344" y="312"/>
                  </a:lnTo>
                  <a:lnTo>
                    <a:pt x="328" y="320"/>
                  </a:lnTo>
                  <a:lnTo>
                    <a:pt x="328" y="360"/>
                  </a:lnTo>
                  <a:lnTo>
                    <a:pt x="320" y="368"/>
                  </a:lnTo>
                  <a:lnTo>
                    <a:pt x="264" y="368"/>
                  </a:lnTo>
                  <a:lnTo>
                    <a:pt x="272" y="400"/>
                  </a:lnTo>
                  <a:lnTo>
                    <a:pt x="248" y="400"/>
                  </a:lnTo>
                  <a:lnTo>
                    <a:pt x="224" y="376"/>
                  </a:lnTo>
                  <a:lnTo>
                    <a:pt x="216" y="384"/>
                  </a:lnTo>
                  <a:lnTo>
                    <a:pt x="216" y="408"/>
                  </a:lnTo>
                  <a:lnTo>
                    <a:pt x="200" y="408"/>
                  </a:lnTo>
                  <a:lnTo>
                    <a:pt x="192" y="416"/>
                  </a:lnTo>
                  <a:lnTo>
                    <a:pt x="168" y="416"/>
                  </a:lnTo>
                  <a:lnTo>
                    <a:pt x="168" y="384"/>
                  </a:lnTo>
                  <a:lnTo>
                    <a:pt x="152" y="384"/>
                  </a:lnTo>
                  <a:lnTo>
                    <a:pt x="152" y="400"/>
                  </a:lnTo>
                  <a:lnTo>
                    <a:pt x="136" y="400"/>
                  </a:lnTo>
                  <a:lnTo>
                    <a:pt x="144" y="352"/>
                  </a:lnTo>
                  <a:lnTo>
                    <a:pt x="152" y="336"/>
                  </a:lnTo>
                  <a:lnTo>
                    <a:pt x="152" y="312"/>
                  </a:lnTo>
                  <a:lnTo>
                    <a:pt x="152" y="296"/>
                  </a:lnTo>
                  <a:lnTo>
                    <a:pt x="144" y="288"/>
                  </a:lnTo>
                  <a:lnTo>
                    <a:pt x="96" y="296"/>
                  </a:lnTo>
                  <a:lnTo>
                    <a:pt x="96" y="312"/>
                  </a:lnTo>
                  <a:lnTo>
                    <a:pt x="72" y="320"/>
                  </a:lnTo>
                  <a:lnTo>
                    <a:pt x="64" y="304"/>
                  </a:lnTo>
                  <a:lnTo>
                    <a:pt x="56" y="320"/>
                  </a:lnTo>
                  <a:lnTo>
                    <a:pt x="32" y="312"/>
                  </a:lnTo>
                  <a:lnTo>
                    <a:pt x="32" y="304"/>
                  </a:lnTo>
                  <a:lnTo>
                    <a:pt x="24" y="304"/>
                  </a:lnTo>
                  <a:lnTo>
                    <a:pt x="24" y="288"/>
                  </a:lnTo>
                  <a:lnTo>
                    <a:pt x="16" y="264"/>
                  </a:lnTo>
                  <a:lnTo>
                    <a:pt x="32" y="256"/>
                  </a:lnTo>
                  <a:lnTo>
                    <a:pt x="24" y="240"/>
                  </a:lnTo>
                  <a:lnTo>
                    <a:pt x="0" y="240"/>
                  </a:lnTo>
                  <a:lnTo>
                    <a:pt x="0" y="224"/>
                  </a:lnTo>
                  <a:lnTo>
                    <a:pt x="24" y="192"/>
                  </a:lnTo>
                  <a:lnTo>
                    <a:pt x="24" y="168"/>
                  </a:lnTo>
                  <a:lnTo>
                    <a:pt x="32" y="160"/>
                  </a:lnTo>
                  <a:lnTo>
                    <a:pt x="24" y="136"/>
                  </a:lnTo>
                  <a:lnTo>
                    <a:pt x="16" y="136"/>
                  </a:lnTo>
                  <a:lnTo>
                    <a:pt x="24" y="120"/>
                  </a:lnTo>
                  <a:lnTo>
                    <a:pt x="16" y="80"/>
                  </a:lnTo>
                  <a:lnTo>
                    <a:pt x="48" y="32"/>
                  </a:lnTo>
                  <a:lnTo>
                    <a:pt x="80" y="32"/>
                  </a:lnTo>
                  <a:lnTo>
                    <a:pt x="104" y="40"/>
                  </a:lnTo>
                  <a:lnTo>
                    <a:pt x="96" y="8"/>
                  </a:lnTo>
                  <a:lnTo>
                    <a:pt x="112" y="0"/>
                  </a:lnTo>
                  <a:lnTo>
                    <a:pt x="152" y="16"/>
                  </a:lnTo>
                  <a:lnTo>
                    <a:pt x="184" y="16"/>
                  </a:lnTo>
                  <a:lnTo>
                    <a:pt x="208" y="40"/>
                  </a:lnTo>
                  <a:lnTo>
                    <a:pt x="248" y="40"/>
                  </a:lnTo>
                  <a:lnTo>
                    <a:pt x="256" y="48"/>
                  </a:lnTo>
                  <a:lnTo>
                    <a:pt x="288" y="32"/>
                  </a:lnTo>
                  <a:lnTo>
                    <a:pt x="304" y="32"/>
                  </a:lnTo>
                  <a:lnTo>
                    <a:pt x="304" y="80"/>
                  </a:lnTo>
                  <a:lnTo>
                    <a:pt x="320" y="80"/>
                  </a:ln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19" name="Freeform 28"/>
            <p:cNvSpPr/>
            <p:nvPr/>
          </p:nvSpPr>
          <p:spPr bwMode="auto">
            <a:xfrm>
              <a:off x="3378200" y="4038600"/>
              <a:ext cx="728663" cy="439738"/>
            </a:xfrm>
            <a:custGeom>
              <a:avLst/>
              <a:gdLst>
                <a:gd name="T0" fmla="*/ 488 w 489"/>
                <a:gd name="T1" fmla="*/ 248 h 321"/>
                <a:gd name="T2" fmla="*/ 448 w 489"/>
                <a:gd name="T3" fmla="*/ 264 h 321"/>
                <a:gd name="T4" fmla="*/ 392 w 489"/>
                <a:gd name="T5" fmla="*/ 296 h 321"/>
                <a:gd name="T6" fmla="*/ 368 w 489"/>
                <a:gd name="T7" fmla="*/ 304 h 321"/>
                <a:gd name="T8" fmla="*/ 352 w 489"/>
                <a:gd name="T9" fmla="*/ 320 h 321"/>
                <a:gd name="T10" fmla="*/ 328 w 489"/>
                <a:gd name="T11" fmla="*/ 320 h 321"/>
                <a:gd name="T12" fmla="*/ 336 w 489"/>
                <a:gd name="T13" fmla="*/ 272 h 321"/>
                <a:gd name="T14" fmla="*/ 320 w 489"/>
                <a:gd name="T15" fmla="*/ 272 h 321"/>
                <a:gd name="T16" fmla="*/ 288 w 489"/>
                <a:gd name="T17" fmla="*/ 288 h 321"/>
                <a:gd name="T18" fmla="*/ 280 w 489"/>
                <a:gd name="T19" fmla="*/ 280 h 321"/>
                <a:gd name="T20" fmla="*/ 240 w 489"/>
                <a:gd name="T21" fmla="*/ 280 h 321"/>
                <a:gd name="T22" fmla="*/ 224 w 489"/>
                <a:gd name="T23" fmla="*/ 256 h 321"/>
                <a:gd name="T24" fmla="*/ 184 w 489"/>
                <a:gd name="T25" fmla="*/ 256 h 321"/>
                <a:gd name="T26" fmla="*/ 144 w 489"/>
                <a:gd name="T27" fmla="*/ 240 h 321"/>
                <a:gd name="T28" fmla="*/ 128 w 489"/>
                <a:gd name="T29" fmla="*/ 248 h 321"/>
                <a:gd name="T30" fmla="*/ 136 w 489"/>
                <a:gd name="T31" fmla="*/ 280 h 321"/>
                <a:gd name="T32" fmla="*/ 112 w 489"/>
                <a:gd name="T33" fmla="*/ 272 h 321"/>
                <a:gd name="T34" fmla="*/ 80 w 489"/>
                <a:gd name="T35" fmla="*/ 272 h 321"/>
                <a:gd name="T36" fmla="*/ 48 w 489"/>
                <a:gd name="T37" fmla="*/ 320 h 321"/>
                <a:gd name="T38" fmla="*/ 8 w 489"/>
                <a:gd name="T39" fmla="*/ 272 h 321"/>
                <a:gd name="T40" fmla="*/ 0 w 489"/>
                <a:gd name="T41" fmla="*/ 272 h 321"/>
                <a:gd name="T42" fmla="*/ 8 w 489"/>
                <a:gd name="T43" fmla="*/ 256 h 321"/>
                <a:gd name="T44" fmla="*/ 16 w 489"/>
                <a:gd name="T45" fmla="*/ 248 h 321"/>
                <a:gd name="T46" fmla="*/ 0 w 489"/>
                <a:gd name="T47" fmla="*/ 232 h 321"/>
                <a:gd name="T48" fmla="*/ 0 w 489"/>
                <a:gd name="T49" fmla="*/ 224 h 321"/>
                <a:gd name="T50" fmla="*/ 16 w 489"/>
                <a:gd name="T51" fmla="*/ 208 h 321"/>
                <a:gd name="T52" fmla="*/ 72 w 489"/>
                <a:gd name="T53" fmla="*/ 208 h 321"/>
                <a:gd name="T54" fmla="*/ 96 w 489"/>
                <a:gd name="T55" fmla="*/ 192 h 321"/>
                <a:gd name="T56" fmla="*/ 112 w 489"/>
                <a:gd name="T57" fmla="*/ 184 h 321"/>
                <a:gd name="T58" fmla="*/ 112 w 489"/>
                <a:gd name="T59" fmla="*/ 160 h 321"/>
                <a:gd name="T60" fmla="*/ 80 w 489"/>
                <a:gd name="T61" fmla="*/ 120 h 321"/>
                <a:gd name="T62" fmla="*/ 72 w 489"/>
                <a:gd name="T63" fmla="*/ 80 h 321"/>
                <a:gd name="T64" fmla="*/ 88 w 489"/>
                <a:gd name="T65" fmla="*/ 56 h 321"/>
                <a:gd name="T66" fmla="*/ 88 w 489"/>
                <a:gd name="T67" fmla="*/ 40 h 321"/>
                <a:gd name="T68" fmla="*/ 72 w 489"/>
                <a:gd name="T69" fmla="*/ 8 h 321"/>
                <a:gd name="T70" fmla="*/ 128 w 489"/>
                <a:gd name="T71" fmla="*/ 8 h 321"/>
                <a:gd name="T72" fmla="*/ 144 w 489"/>
                <a:gd name="T73" fmla="*/ 16 h 321"/>
                <a:gd name="T74" fmla="*/ 168 w 489"/>
                <a:gd name="T75" fmla="*/ 0 h 321"/>
                <a:gd name="T76" fmla="*/ 208 w 489"/>
                <a:gd name="T77" fmla="*/ 72 h 321"/>
                <a:gd name="T78" fmla="*/ 280 w 489"/>
                <a:gd name="T79" fmla="*/ 72 h 321"/>
                <a:gd name="T80" fmla="*/ 296 w 489"/>
                <a:gd name="T81" fmla="*/ 80 h 321"/>
                <a:gd name="T82" fmla="*/ 312 w 489"/>
                <a:gd name="T83" fmla="*/ 72 h 321"/>
                <a:gd name="T84" fmla="*/ 336 w 489"/>
                <a:gd name="T85" fmla="*/ 88 h 321"/>
                <a:gd name="T86" fmla="*/ 336 w 489"/>
                <a:gd name="T87" fmla="*/ 112 h 321"/>
                <a:gd name="T88" fmla="*/ 352 w 489"/>
                <a:gd name="T89" fmla="*/ 128 h 321"/>
                <a:gd name="T90" fmla="*/ 360 w 489"/>
                <a:gd name="T91" fmla="*/ 112 h 321"/>
                <a:gd name="T92" fmla="*/ 376 w 489"/>
                <a:gd name="T93" fmla="*/ 128 h 321"/>
                <a:gd name="T94" fmla="*/ 408 w 489"/>
                <a:gd name="T95" fmla="*/ 128 h 321"/>
                <a:gd name="T96" fmla="*/ 416 w 489"/>
                <a:gd name="T97" fmla="*/ 120 h 321"/>
                <a:gd name="T98" fmla="*/ 464 w 489"/>
                <a:gd name="T99" fmla="*/ 152 h 321"/>
                <a:gd name="T100" fmla="*/ 472 w 489"/>
                <a:gd name="T101" fmla="*/ 192 h 321"/>
                <a:gd name="T102" fmla="*/ 472 w 489"/>
                <a:gd name="T103" fmla="*/ 216 h 321"/>
                <a:gd name="T104" fmla="*/ 488 w 489"/>
                <a:gd name="T105" fmla="*/ 248 h 321"/>
                <a:gd name="T106" fmla="*/ 0 w 489"/>
                <a:gd name="T107" fmla="*/ 0 h 321"/>
                <a:gd name="T108" fmla="*/ 489 w 489"/>
                <a:gd name="T109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T106" t="T107" r="T108" b="T109"/>
              <a:pathLst>
                <a:path w="489" h="321">
                  <a:moveTo>
                    <a:pt x="488" y="248"/>
                  </a:moveTo>
                  <a:lnTo>
                    <a:pt x="448" y="264"/>
                  </a:lnTo>
                  <a:lnTo>
                    <a:pt x="392" y="296"/>
                  </a:lnTo>
                  <a:lnTo>
                    <a:pt x="368" y="304"/>
                  </a:lnTo>
                  <a:lnTo>
                    <a:pt x="352" y="320"/>
                  </a:lnTo>
                  <a:lnTo>
                    <a:pt x="328" y="320"/>
                  </a:lnTo>
                  <a:lnTo>
                    <a:pt x="336" y="272"/>
                  </a:lnTo>
                  <a:lnTo>
                    <a:pt x="320" y="272"/>
                  </a:lnTo>
                  <a:lnTo>
                    <a:pt x="288" y="288"/>
                  </a:lnTo>
                  <a:lnTo>
                    <a:pt x="280" y="280"/>
                  </a:lnTo>
                  <a:lnTo>
                    <a:pt x="240" y="280"/>
                  </a:lnTo>
                  <a:lnTo>
                    <a:pt x="224" y="256"/>
                  </a:lnTo>
                  <a:lnTo>
                    <a:pt x="184" y="256"/>
                  </a:lnTo>
                  <a:lnTo>
                    <a:pt x="144" y="240"/>
                  </a:lnTo>
                  <a:lnTo>
                    <a:pt x="128" y="248"/>
                  </a:lnTo>
                  <a:lnTo>
                    <a:pt x="136" y="280"/>
                  </a:lnTo>
                  <a:lnTo>
                    <a:pt x="112" y="272"/>
                  </a:lnTo>
                  <a:lnTo>
                    <a:pt x="80" y="272"/>
                  </a:lnTo>
                  <a:lnTo>
                    <a:pt x="48" y="320"/>
                  </a:lnTo>
                  <a:lnTo>
                    <a:pt x="8" y="272"/>
                  </a:lnTo>
                  <a:lnTo>
                    <a:pt x="0" y="272"/>
                  </a:lnTo>
                  <a:lnTo>
                    <a:pt x="8" y="256"/>
                  </a:lnTo>
                  <a:lnTo>
                    <a:pt x="16" y="248"/>
                  </a:lnTo>
                  <a:lnTo>
                    <a:pt x="0" y="232"/>
                  </a:lnTo>
                  <a:lnTo>
                    <a:pt x="0" y="224"/>
                  </a:lnTo>
                  <a:lnTo>
                    <a:pt x="16" y="208"/>
                  </a:lnTo>
                  <a:lnTo>
                    <a:pt x="72" y="208"/>
                  </a:lnTo>
                  <a:lnTo>
                    <a:pt x="96" y="192"/>
                  </a:lnTo>
                  <a:lnTo>
                    <a:pt x="112" y="184"/>
                  </a:lnTo>
                  <a:lnTo>
                    <a:pt x="112" y="160"/>
                  </a:lnTo>
                  <a:lnTo>
                    <a:pt x="80" y="120"/>
                  </a:lnTo>
                  <a:lnTo>
                    <a:pt x="72" y="80"/>
                  </a:lnTo>
                  <a:lnTo>
                    <a:pt x="88" y="56"/>
                  </a:lnTo>
                  <a:lnTo>
                    <a:pt x="88" y="40"/>
                  </a:lnTo>
                  <a:lnTo>
                    <a:pt x="72" y="8"/>
                  </a:lnTo>
                  <a:lnTo>
                    <a:pt x="128" y="8"/>
                  </a:lnTo>
                  <a:lnTo>
                    <a:pt x="144" y="16"/>
                  </a:lnTo>
                  <a:lnTo>
                    <a:pt x="168" y="0"/>
                  </a:lnTo>
                  <a:lnTo>
                    <a:pt x="208" y="72"/>
                  </a:lnTo>
                  <a:lnTo>
                    <a:pt x="280" y="72"/>
                  </a:lnTo>
                  <a:lnTo>
                    <a:pt x="296" y="80"/>
                  </a:lnTo>
                  <a:lnTo>
                    <a:pt x="312" y="72"/>
                  </a:lnTo>
                  <a:lnTo>
                    <a:pt x="336" y="88"/>
                  </a:lnTo>
                  <a:lnTo>
                    <a:pt x="336" y="112"/>
                  </a:lnTo>
                  <a:lnTo>
                    <a:pt x="352" y="128"/>
                  </a:lnTo>
                  <a:lnTo>
                    <a:pt x="360" y="112"/>
                  </a:lnTo>
                  <a:lnTo>
                    <a:pt x="376" y="128"/>
                  </a:lnTo>
                  <a:lnTo>
                    <a:pt x="408" y="128"/>
                  </a:lnTo>
                  <a:lnTo>
                    <a:pt x="416" y="120"/>
                  </a:lnTo>
                  <a:lnTo>
                    <a:pt x="464" y="152"/>
                  </a:lnTo>
                  <a:lnTo>
                    <a:pt x="472" y="192"/>
                  </a:lnTo>
                  <a:lnTo>
                    <a:pt x="472" y="216"/>
                  </a:lnTo>
                  <a:lnTo>
                    <a:pt x="488" y="248"/>
                  </a:ln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20" name="Freeform 29"/>
            <p:cNvSpPr/>
            <p:nvPr/>
          </p:nvSpPr>
          <p:spPr bwMode="auto">
            <a:xfrm>
              <a:off x="3962400" y="3883025"/>
              <a:ext cx="454025" cy="530225"/>
            </a:xfrm>
            <a:custGeom>
              <a:avLst/>
              <a:gdLst>
                <a:gd name="T0" fmla="*/ 88 w 305"/>
                <a:gd name="T1" fmla="*/ 0 h 385"/>
                <a:gd name="T2" fmla="*/ 128 w 305"/>
                <a:gd name="T3" fmla="*/ 32 h 385"/>
                <a:gd name="T4" fmla="*/ 176 w 305"/>
                <a:gd name="T5" fmla="*/ 64 h 385"/>
                <a:gd name="T6" fmla="*/ 200 w 305"/>
                <a:gd name="T7" fmla="*/ 96 h 385"/>
                <a:gd name="T8" fmla="*/ 240 w 305"/>
                <a:gd name="T9" fmla="*/ 136 h 385"/>
                <a:gd name="T10" fmla="*/ 272 w 305"/>
                <a:gd name="T11" fmla="*/ 144 h 385"/>
                <a:gd name="T12" fmla="*/ 248 w 305"/>
                <a:gd name="T13" fmla="*/ 144 h 385"/>
                <a:gd name="T14" fmla="*/ 232 w 305"/>
                <a:gd name="T15" fmla="*/ 176 h 385"/>
                <a:gd name="T16" fmla="*/ 248 w 305"/>
                <a:gd name="T17" fmla="*/ 224 h 385"/>
                <a:gd name="T18" fmla="*/ 288 w 305"/>
                <a:gd name="T19" fmla="*/ 248 h 385"/>
                <a:gd name="T20" fmla="*/ 288 w 305"/>
                <a:gd name="T21" fmla="*/ 296 h 385"/>
                <a:gd name="T22" fmla="*/ 280 w 305"/>
                <a:gd name="T23" fmla="*/ 320 h 385"/>
                <a:gd name="T24" fmla="*/ 264 w 305"/>
                <a:gd name="T25" fmla="*/ 312 h 385"/>
                <a:gd name="T26" fmla="*/ 272 w 305"/>
                <a:gd name="T27" fmla="*/ 344 h 385"/>
                <a:gd name="T28" fmla="*/ 264 w 305"/>
                <a:gd name="T29" fmla="*/ 360 h 385"/>
                <a:gd name="T30" fmla="*/ 224 w 305"/>
                <a:gd name="T31" fmla="*/ 384 h 385"/>
                <a:gd name="T32" fmla="*/ 184 w 305"/>
                <a:gd name="T33" fmla="*/ 384 h 385"/>
                <a:gd name="T34" fmla="*/ 152 w 305"/>
                <a:gd name="T35" fmla="*/ 368 h 385"/>
                <a:gd name="T36" fmla="*/ 128 w 305"/>
                <a:gd name="T37" fmla="*/ 384 h 385"/>
                <a:gd name="T38" fmla="*/ 136 w 305"/>
                <a:gd name="T39" fmla="*/ 360 h 385"/>
                <a:gd name="T40" fmla="*/ 120 w 305"/>
                <a:gd name="T41" fmla="*/ 368 h 385"/>
                <a:gd name="T42" fmla="*/ 80 w 305"/>
                <a:gd name="T43" fmla="*/ 312 h 385"/>
                <a:gd name="T44" fmla="*/ 72 w 305"/>
                <a:gd name="T45" fmla="*/ 264 h 385"/>
                <a:gd name="T46" fmla="*/ 72 w 305"/>
                <a:gd name="T47" fmla="*/ 216 h 385"/>
                <a:gd name="T48" fmla="*/ 72 w 305"/>
                <a:gd name="T49" fmla="*/ 160 h 385"/>
                <a:gd name="T50" fmla="*/ 24 w 305"/>
                <a:gd name="T51" fmla="*/ 152 h 385"/>
                <a:gd name="T52" fmla="*/ 0 w 305"/>
                <a:gd name="T53" fmla="*/ 136 h 385"/>
                <a:gd name="T54" fmla="*/ 32 w 305"/>
                <a:gd name="T55" fmla="*/ 120 h 385"/>
                <a:gd name="T56" fmla="*/ 40 w 305"/>
                <a:gd name="T57" fmla="*/ 40 h 385"/>
                <a:gd name="T58" fmla="*/ 72 w 305"/>
                <a:gd name="T59" fmla="*/ 56 h 385"/>
                <a:gd name="T60" fmla="*/ 104 w 305"/>
                <a:gd name="T61" fmla="*/ 48 h 385"/>
                <a:gd name="T62" fmla="*/ 80 w 305"/>
                <a:gd name="T63" fmla="*/ 16 h 385"/>
                <a:gd name="T64" fmla="*/ 0 w 305"/>
                <a:gd name="T65" fmla="*/ 0 h 385"/>
                <a:gd name="T66" fmla="*/ 305 w 305"/>
                <a:gd name="T67" fmla="*/ 385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T64" t="T65" r="T66" b="T67"/>
              <a:pathLst>
                <a:path w="305" h="385">
                  <a:moveTo>
                    <a:pt x="80" y="8"/>
                  </a:moveTo>
                  <a:lnTo>
                    <a:pt x="88" y="0"/>
                  </a:lnTo>
                  <a:lnTo>
                    <a:pt x="120" y="8"/>
                  </a:lnTo>
                  <a:lnTo>
                    <a:pt x="128" y="32"/>
                  </a:lnTo>
                  <a:lnTo>
                    <a:pt x="152" y="32"/>
                  </a:lnTo>
                  <a:lnTo>
                    <a:pt x="176" y="64"/>
                  </a:lnTo>
                  <a:lnTo>
                    <a:pt x="184" y="56"/>
                  </a:lnTo>
                  <a:lnTo>
                    <a:pt x="200" y="96"/>
                  </a:lnTo>
                  <a:lnTo>
                    <a:pt x="224" y="136"/>
                  </a:lnTo>
                  <a:lnTo>
                    <a:pt x="240" y="136"/>
                  </a:lnTo>
                  <a:lnTo>
                    <a:pt x="256" y="120"/>
                  </a:lnTo>
                  <a:lnTo>
                    <a:pt x="272" y="144"/>
                  </a:lnTo>
                  <a:lnTo>
                    <a:pt x="256" y="160"/>
                  </a:lnTo>
                  <a:lnTo>
                    <a:pt x="248" y="144"/>
                  </a:lnTo>
                  <a:lnTo>
                    <a:pt x="232" y="144"/>
                  </a:lnTo>
                  <a:lnTo>
                    <a:pt x="232" y="176"/>
                  </a:lnTo>
                  <a:lnTo>
                    <a:pt x="224" y="192"/>
                  </a:lnTo>
                  <a:lnTo>
                    <a:pt x="248" y="224"/>
                  </a:lnTo>
                  <a:lnTo>
                    <a:pt x="248" y="248"/>
                  </a:lnTo>
                  <a:lnTo>
                    <a:pt x="288" y="248"/>
                  </a:lnTo>
                  <a:lnTo>
                    <a:pt x="304" y="264"/>
                  </a:lnTo>
                  <a:lnTo>
                    <a:pt x="288" y="296"/>
                  </a:lnTo>
                  <a:lnTo>
                    <a:pt x="296" y="320"/>
                  </a:lnTo>
                  <a:lnTo>
                    <a:pt x="280" y="320"/>
                  </a:lnTo>
                  <a:lnTo>
                    <a:pt x="280" y="312"/>
                  </a:lnTo>
                  <a:lnTo>
                    <a:pt x="264" y="312"/>
                  </a:lnTo>
                  <a:lnTo>
                    <a:pt x="264" y="328"/>
                  </a:lnTo>
                  <a:lnTo>
                    <a:pt x="272" y="344"/>
                  </a:lnTo>
                  <a:lnTo>
                    <a:pt x="264" y="344"/>
                  </a:lnTo>
                  <a:lnTo>
                    <a:pt x="264" y="360"/>
                  </a:lnTo>
                  <a:lnTo>
                    <a:pt x="232" y="384"/>
                  </a:lnTo>
                  <a:lnTo>
                    <a:pt x="224" y="384"/>
                  </a:lnTo>
                  <a:lnTo>
                    <a:pt x="216" y="376"/>
                  </a:lnTo>
                  <a:lnTo>
                    <a:pt x="184" y="384"/>
                  </a:lnTo>
                  <a:lnTo>
                    <a:pt x="168" y="352"/>
                  </a:lnTo>
                  <a:lnTo>
                    <a:pt x="152" y="368"/>
                  </a:lnTo>
                  <a:lnTo>
                    <a:pt x="152" y="384"/>
                  </a:lnTo>
                  <a:lnTo>
                    <a:pt x="128" y="384"/>
                  </a:lnTo>
                  <a:lnTo>
                    <a:pt x="128" y="368"/>
                  </a:lnTo>
                  <a:lnTo>
                    <a:pt x="136" y="360"/>
                  </a:lnTo>
                  <a:lnTo>
                    <a:pt x="128" y="352"/>
                  </a:lnTo>
                  <a:lnTo>
                    <a:pt x="120" y="368"/>
                  </a:lnTo>
                  <a:lnTo>
                    <a:pt x="88" y="360"/>
                  </a:lnTo>
                  <a:lnTo>
                    <a:pt x="80" y="312"/>
                  </a:lnTo>
                  <a:lnTo>
                    <a:pt x="80" y="296"/>
                  </a:lnTo>
                  <a:lnTo>
                    <a:pt x="72" y="264"/>
                  </a:lnTo>
                  <a:lnTo>
                    <a:pt x="32" y="240"/>
                  </a:lnTo>
                  <a:lnTo>
                    <a:pt x="72" y="216"/>
                  </a:lnTo>
                  <a:lnTo>
                    <a:pt x="80" y="216"/>
                  </a:lnTo>
                  <a:lnTo>
                    <a:pt x="72" y="160"/>
                  </a:lnTo>
                  <a:lnTo>
                    <a:pt x="48" y="168"/>
                  </a:lnTo>
                  <a:lnTo>
                    <a:pt x="24" y="152"/>
                  </a:lnTo>
                  <a:lnTo>
                    <a:pt x="16" y="136"/>
                  </a:lnTo>
                  <a:lnTo>
                    <a:pt x="0" y="136"/>
                  </a:lnTo>
                  <a:lnTo>
                    <a:pt x="8" y="120"/>
                  </a:lnTo>
                  <a:lnTo>
                    <a:pt x="32" y="120"/>
                  </a:lnTo>
                  <a:lnTo>
                    <a:pt x="40" y="88"/>
                  </a:lnTo>
                  <a:lnTo>
                    <a:pt x="40" y="40"/>
                  </a:lnTo>
                  <a:lnTo>
                    <a:pt x="48" y="40"/>
                  </a:lnTo>
                  <a:lnTo>
                    <a:pt x="72" y="56"/>
                  </a:lnTo>
                  <a:lnTo>
                    <a:pt x="80" y="72"/>
                  </a:lnTo>
                  <a:lnTo>
                    <a:pt x="104" y="48"/>
                  </a:lnTo>
                  <a:lnTo>
                    <a:pt x="104" y="32"/>
                  </a:lnTo>
                  <a:lnTo>
                    <a:pt x="80" y="16"/>
                  </a:lnTo>
                  <a:lnTo>
                    <a:pt x="80" y="8"/>
                  </a:ln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1" name="Freeform 30"/>
            <p:cNvSpPr/>
            <p:nvPr/>
          </p:nvSpPr>
          <p:spPr bwMode="auto">
            <a:xfrm>
              <a:off x="3557588" y="3717925"/>
              <a:ext cx="561975" cy="495300"/>
            </a:xfrm>
            <a:custGeom>
              <a:avLst/>
              <a:gdLst>
                <a:gd name="T0" fmla="*/ 200 w 377"/>
                <a:gd name="T1" fmla="*/ 8 h 361"/>
                <a:gd name="T2" fmla="*/ 248 w 377"/>
                <a:gd name="T3" fmla="*/ 0 h 361"/>
                <a:gd name="T4" fmla="*/ 264 w 377"/>
                <a:gd name="T5" fmla="*/ 16 h 361"/>
                <a:gd name="T6" fmla="*/ 304 w 377"/>
                <a:gd name="T7" fmla="*/ 24 h 361"/>
                <a:gd name="T8" fmla="*/ 320 w 377"/>
                <a:gd name="T9" fmla="*/ 16 h 361"/>
                <a:gd name="T10" fmla="*/ 336 w 377"/>
                <a:gd name="T11" fmla="*/ 16 h 361"/>
                <a:gd name="T12" fmla="*/ 280 w 377"/>
                <a:gd name="T13" fmla="*/ 64 h 361"/>
                <a:gd name="T14" fmla="*/ 272 w 377"/>
                <a:gd name="T15" fmla="*/ 88 h 361"/>
                <a:gd name="T16" fmla="*/ 280 w 377"/>
                <a:gd name="T17" fmla="*/ 96 h 361"/>
                <a:gd name="T18" fmla="*/ 288 w 377"/>
                <a:gd name="T19" fmla="*/ 96 h 361"/>
                <a:gd name="T20" fmla="*/ 320 w 377"/>
                <a:gd name="T21" fmla="*/ 128 h 361"/>
                <a:gd name="T22" fmla="*/ 352 w 377"/>
                <a:gd name="T23" fmla="*/ 128 h 361"/>
                <a:gd name="T24" fmla="*/ 352 w 377"/>
                <a:gd name="T25" fmla="*/ 144 h 361"/>
                <a:gd name="T26" fmla="*/ 376 w 377"/>
                <a:gd name="T27" fmla="*/ 152 h 361"/>
                <a:gd name="T28" fmla="*/ 376 w 377"/>
                <a:gd name="T29" fmla="*/ 168 h 361"/>
                <a:gd name="T30" fmla="*/ 352 w 377"/>
                <a:gd name="T31" fmla="*/ 192 h 361"/>
                <a:gd name="T32" fmla="*/ 352 w 377"/>
                <a:gd name="T33" fmla="*/ 176 h 361"/>
                <a:gd name="T34" fmla="*/ 328 w 377"/>
                <a:gd name="T35" fmla="*/ 160 h 361"/>
                <a:gd name="T36" fmla="*/ 312 w 377"/>
                <a:gd name="T37" fmla="*/ 160 h 361"/>
                <a:gd name="T38" fmla="*/ 312 w 377"/>
                <a:gd name="T39" fmla="*/ 208 h 361"/>
                <a:gd name="T40" fmla="*/ 304 w 377"/>
                <a:gd name="T41" fmla="*/ 240 h 361"/>
                <a:gd name="T42" fmla="*/ 280 w 377"/>
                <a:gd name="T43" fmla="*/ 240 h 361"/>
                <a:gd name="T44" fmla="*/ 272 w 377"/>
                <a:gd name="T45" fmla="*/ 248 h 361"/>
                <a:gd name="T46" fmla="*/ 288 w 377"/>
                <a:gd name="T47" fmla="*/ 256 h 361"/>
                <a:gd name="T48" fmla="*/ 296 w 377"/>
                <a:gd name="T49" fmla="*/ 272 h 361"/>
                <a:gd name="T50" fmla="*/ 320 w 377"/>
                <a:gd name="T51" fmla="*/ 288 h 361"/>
                <a:gd name="T52" fmla="*/ 344 w 377"/>
                <a:gd name="T53" fmla="*/ 280 h 361"/>
                <a:gd name="T54" fmla="*/ 352 w 377"/>
                <a:gd name="T55" fmla="*/ 336 h 361"/>
                <a:gd name="T56" fmla="*/ 304 w 377"/>
                <a:gd name="T57" fmla="*/ 360 h 361"/>
                <a:gd name="T58" fmla="*/ 296 w 377"/>
                <a:gd name="T59" fmla="*/ 352 h 361"/>
                <a:gd name="T60" fmla="*/ 288 w 377"/>
                <a:gd name="T61" fmla="*/ 360 h 361"/>
                <a:gd name="T62" fmla="*/ 256 w 377"/>
                <a:gd name="T63" fmla="*/ 360 h 361"/>
                <a:gd name="T64" fmla="*/ 240 w 377"/>
                <a:gd name="T65" fmla="*/ 344 h 361"/>
                <a:gd name="T66" fmla="*/ 232 w 377"/>
                <a:gd name="T67" fmla="*/ 360 h 361"/>
                <a:gd name="T68" fmla="*/ 216 w 377"/>
                <a:gd name="T69" fmla="*/ 344 h 361"/>
                <a:gd name="T70" fmla="*/ 216 w 377"/>
                <a:gd name="T71" fmla="*/ 320 h 361"/>
                <a:gd name="T72" fmla="*/ 192 w 377"/>
                <a:gd name="T73" fmla="*/ 304 h 361"/>
                <a:gd name="T74" fmla="*/ 176 w 377"/>
                <a:gd name="T75" fmla="*/ 312 h 361"/>
                <a:gd name="T76" fmla="*/ 160 w 377"/>
                <a:gd name="T77" fmla="*/ 304 h 361"/>
                <a:gd name="T78" fmla="*/ 88 w 377"/>
                <a:gd name="T79" fmla="*/ 296 h 361"/>
                <a:gd name="T80" fmla="*/ 48 w 377"/>
                <a:gd name="T81" fmla="*/ 232 h 361"/>
                <a:gd name="T82" fmla="*/ 16 w 377"/>
                <a:gd name="T83" fmla="*/ 184 h 361"/>
                <a:gd name="T84" fmla="*/ 0 w 377"/>
                <a:gd name="T85" fmla="*/ 128 h 361"/>
                <a:gd name="T86" fmla="*/ 32 w 377"/>
                <a:gd name="T87" fmla="*/ 128 h 361"/>
                <a:gd name="T88" fmla="*/ 112 w 377"/>
                <a:gd name="T89" fmla="*/ 80 h 361"/>
                <a:gd name="T90" fmla="*/ 136 w 377"/>
                <a:gd name="T91" fmla="*/ 80 h 361"/>
                <a:gd name="T92" fmla="*/ 168 w 377"/>
                <a:gd name="T93" fmla="*/ 80 h 361"/>
                <a:gd name="T94" fmla="*/ 192 w 377"/>
                <a:gd name="T95" fmla="*/ 48 h 361"/>
                <a:gd name="T96" fmla="*/ 200 w 377"/>
                <a:gd name="T97" fmla="*/ 8 h 361"/>
                <a:gd name="T98" fmla="*/ 0 w 377"/>
                <a:gd name="T99" fmla="*/ 0 h 361"/>
                <a:gd name="T100" fmla="*/ 377 w 377"/>
                <a:gd name="T101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T98" t="T99" r="T100" b="T101"/>
              <a:pathLst>
                <a:path w="377" h="361">
                  <a:moveTo>
                    <a:pt x="200" y="8"/>
                  </a:moveTo>
                  <a:lnTo>
                    <a:pt x="248" y="0"/>
                  </a:lnTo>
                  <a:lnTo>
                    <a:pt x="264" y="16"/>
                  </a:lnTo>
                  <a:lnTo>
                    <a:pt x="304" y="24"/>
                  </a:lnTo>
                  <a:lnTo>
                    <a:pt x="320" y="16"/>
                  </a:lnTo>
                  <a:lnTo>
                    <a:pt x="336" y="16"/>
                  </a:lnTo>
                  <a:lnTo>
                    <a:pt x="280" y="64"/>
                  </a:lnTo>
                  <a:lnTo>
                    <a:pt x="272" y="88"/>
                  </a:lnTo>
                  <a:lnTo>
                    <a:pt x="280" y="96"/>
                  </a:lnTo>
                  <a:lnTo>
                    <a:pt x="288" y="96"/>
                  </a:lnTo>
                  <a:lnTo>
                    <a:pt x="320" y="128"/>
                  </a:lnTo>
                  <a:lnTo>
                    <a:pt x="352" y="128"/>
                  </a:lnTo>
                  <a:lnTo>
                    <a:pt x="352" y="144"/>
                  </a:lnTo>
                  <a:lnTo>
                    <a:pt x="376" y="152"/>
                  </a:lnTo>
                  <a:lnTo>
                    <a:pt x="376" y="168"/>
                  </a:lnTo>
                  <a:lnTo>
                    <a:pt x="352" y="192"/>
                  </a:lnTo>
                  <a:lnTo>
                    <a:pt x="352" y="176"/>
                  </a:lnTo>
                  <a:lnTo>
                    <a:pt x="328" y="160"/>
                  </a:lnTo>
                  <a:lnTo>
                    <a:pt x="312" y="160"/>
                  </a:lnTo>
                  <a:lnTo>
                    <a:pt x="312" y="208"/>
                  </a:lnTo>
                  <a:lnTo>
                    <a:pt x="304" y="240"/>
                  </a:lnTo>
                  <a:lnTo>
                    <a:pt x="280" y="240"/>
                  </a:lnTo>
                  <a:lnTo>
                    <a:pt x="272" y="248"/>
                  </a:lnTo>
                  <a:lnTo>
                    <a:pt x="288" y="256"/>
                  </a:lnTo>
                  <a:lnTo>
                    <a:pt x="296" y="272"/>
                  </a:lnTo>
                  <a:lnTo>
                    <a:pt x="320" y="288"/>
                  </a:lnTo>
                  <a:lnTo>
                    <a:pt x="344" y="280"/>
                  </a:lnTo>
                  <a:lnTo>
                    <a:pt x="352" y="336"/>
                  </a:lnTo>
                  <a:lnTo>
                    <a:pt x="304" y="360"/>
                  </a:lnTo>
                  <a:lnTo>
                    <a:pt x="296" y="352"/>
                  </a:lnTo>
                  <a:lnTo>
                    <a:pt x="288" y="360"/>
                  </a:lnTo>
                  <a:lnTo>
                    <a:pt x="256" y="360"/>
                  </a:lnTo>
                  <a:lnTo>
                    <a:pt x="240" y="344"/>
                  </a:lnTo>
                  <a:lnTo>
                    <a:pt x="232" y="360"/>
                  </a:lnTo>
                  <a:lnTo>
                    <a:pt x="216" y="344"/>
                  </a:lnTo>
                  <a:lnTo>
                    <a:pt x="216" y="320"/>
                  </a:lnTo>
                  <a:lnTo>
                    <a:pt x="192" y="304"/>
                  </a:lnTo>
                  <a:lnTo>
                    <a:pt x="176" y="312"/>
                  </a:lnTo>
                  <a:lnTo>
                    <a:pt x="160" y="304"/>
                  </a:lnTo>
                  <a:lnTo>
                    <a:pt x="88" y="296"/>
                  </a:lnTo>
                  <a:lnTo>
                    <a:pt x="48" y="232"/>
                  </a:lnTo>
                  <a:lnTo>
                    <a:pt x="16" y="184"/>
                  </a:lnTo>
                  <a:lnTo>
                    <a:pt x="0" y="128"/>
                  </a:lnTo>
                  <a:lnTo>
                    <a:pt x="32" y="128"/>
                  </a:lnTo>
                  <a:lnTo>
                    <a:pt x="112" y="80"/>
                  </a:lnTo>
                  <a:lnTo>
                    <a:pt x="136" y="80"/>
                  </a:lnTo>
                  <a:lnTo>
                    <a:pt x="168" y="80"/>
                  </a:lnTo>
                  <a:lnTo>
                    <a:pt x="192" y="48"/>
                  </a:lnTo>
                  <a:lnTo>
                    <a:pt x="200" y="8"/>
                  </a:ln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22" name="Freeform 31"/>
            <p:cNvSpPr/>
            <p:nvPr/>
          </p:nvSpPr>
          <p:spPr bwMode="auto">
            <a:xfrm>
              <a:off x="3546475" y="3267075"/>
              <a:ext cx="371475" cy="630238"/>
            </a:xfrm>
            <a:custGeom>
              <a:avLst/>
              <a:gdLst>
                <a:gd name="T0" fmla="*/ 208 w 249"/>
                <a:gd name="T1" fmla="*/ 336 h 457"/>
                <a:gd name="T2" fmla="*/ 200 w 249"/>
                <a:gd name="T3" fmla="*/ 376 h 457"/>
                <a:gd name="T4" fmla="*/ 176 w 249"/>
                <a:gd name="T5" fmla="*/ 408 h 457"/>
                <a:gd name="T6" fmla="*/ 136 w 249"/>
                <a:gd name="T7" fmla="*/ 400 h 457"/>
                <a:gd name="T8" fmla="*/ 80 w 249"/>
                <a:gd name="T9" fmla="*/ 432 h 457"/>
                <a:gd name="T10" fmla="*/ 40 w 249"/>
                <a:gd name="T11" fmla="*/ 456 h 457"/>
                <a:gd name="T12" fmla="*/ 8 w 249"/>
                <a:gd name="T13" fmla="*/ 456 h 457"/>
                <a:gd name="T14" fmla="*/ 0 w 249"/>
                <a:gd name="T15" fmla="*/ 448 h 457"/>
                <a:gd name="T16" fmla="*/ 16 w 249"/>
                <a:gd name="T17" fmla="*/ 384 h 457"/>
                <a:gd name="T18" fmla="*/ 24 w 249"/>
                <a:gd name="T19" fmla="*/ 368 h 457"/>
                <a:gd name="T20" fmla="*/ 8 w 249"/>
                <a:gd name="T21" fmla="*/ 328 h 457"/>
                <a:gd name="T22" fmla="*/ 16 w 249"/>
                <a:gd name="T23" fmla="*/ 264 h 457"/>
                <a:gd name="T24" fmla="*/ 24 w 249"/>
                <a:gd name="T25" fmla="*/ 224 h 457"/>
                <a:gd name="T26" fmla="*/ 32 w 249"/>
                <a:gd name="T27" fmla="*/ 208 h 457"/>
                <a:gd name="T28" fmla="*/ 16 w 249"/>
                <a:gd name="T29" fmla="*/ 192 h 457"/>
                <a:gd name="T30" fmla="*/ 32 w 249"/>
                <a:gd name="T31" fmla="*/ 160 h 457"/>
                <a:gd name="T32" fmla="*/ 56 w 249"/>
                <a:gd name="T33" fmla="*/ 112 h 457"/>
                <a:gd name="T34" fmla="*/ 56 w 249"/>
                <a:gd name="T35" fmla="*/ 80 h 457"/>
                <a:gd name="T36" fmla="*/ 72 w 249"/>
                <a:gd name="T37" fmla="*/ 80 h 457"/>
                <a:gd name="T38" fmla="*/ 120 w 249"/>
                <a:gd name="T39" fmla="*/ 24 h 457"/>
                <a:gd name="T40" fmla="*/ 144 w 249"/>
                <a:gd name="T41" fmla="*/ 16 h 457"/>
                <a:gd name="T42" fmla="*/ 168 w 249"/>
                <a:gd name="T43" fmla="*/ 0 h 457"/>
                <a:gd name="T44" fmla="*/ 176 w 249"/>
                <a:gd name="T45" fmla="*/ 8 h 457"/>
                <a:gd name="T46" fmla="*/ 216 w 249"/>
                <a:gd name="T47" fmla="*/ 0 h 457"/>
                <a:gd name="T48" fmla="*/ 240 w 249"/>
                <a:gd name="T49" fmla="*/ 24 h 457"/>
                <a:gd name="T50" fmla="*/ 216 w 249"/>
                <a:gd name="T51" fmla="*/ 32 h 457"/>
                <a:gd name="T52" fmla="*/ 208 w 249"/>
                <a:gd name="T53" fmla="*/ 48 h 457"/>
                <a:gd name="T54" fmla="*/ 240 w 249"/>
                <a:gd name="T55" fmla="*/ 48 h 457"/>
                <a:gd name="T56" fmla="*/ 248 w 249"/>
                <a:gd name="T57" fmla="*/ 88 h 457"/>
                <a:gd name="T58" fmla="*/ 232 w 249"/>
                <a:gd name="T59" fmla="*/ 120 h 457"/>
                <a:gd name="T60" fmla="*/ 216 w 249"/>
                <a:gd name="T61" fmla="*/ 104 h 457"/>
                <a:gd name="T62" fmla="*/ 192 w 249"/>
                <a:gd name="T63" fmla="*/ 120 h 457"/>
                <a:gd name="T64" fmla="*/ 200 w 249"/>
                <a:gd name="T65" fmla="*/ 136 h 457"/>
                <a:gd name="T66" fmla="*/ 184 w 249"/>
                <a:gd name="T67" fmla="*/ 160 h 457"/>
                <a:gd name="T68" fmla="*/ 224 w 249"/>
                <a:gd name="T69" fmla="*/ 216 h 457"/>
                <a:gd name="T70" fmla="*/ 192 w 249"/>
                <a:gd name="T71" fmla="*/ 304 h 457"/>
                <a:gd name="T72" fmla="*/ 208 w 249"/>
                <a:gd name="T73" fmla="*/ 336 h 457"/>
                <a:gd name="T74" fmla="*/ 0 w 249"/>
                <a:gd name="T75" fmla="*/ 0 h 457"/>
                <a:gd name="T76" fmla="*/ 249 w 249"/>
                <a:gd name="T77" fmla="*/ 45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T74" t="T75" r="T76" b="T77"/>
              <a:pathLst>
                <a:path w="249" h="457">
                  <a:moveTo>
                    <a:pt x="208" y="336"/>
                  </a:moveTo>
                  <a:lnTo>
                    <a:pt x="200" y="376"/>
                  </a:lnTo>
                  <a:lnTo>
                    <a:pt x="176" y="408"/>
                  </a:lnTo>
                  <a:lnTo>
                    <a:pt x="136" y="400"/>
                  </a:lnTo>
                  <a:lnTo>
                    <a:pt x="80" y="432"/>
                  </a:lnTo>
                  <a:lnTo>
                    <a:pt x="40" y="456"/>
                  </a:lnTo>
                  <a:lnTo>
                    <a:pt x="8" y="456"/>
                  </a:lnTo>
                  <a:lnTo>
                    <a:pt x="0" y="448"/>
                  </a:lnTo>
                  <a:lnTo>
                    <a:pt x="16" y="384"/>
                  </a:lnTo>
                  <a:lnTo>
                    <a:pt x="24" y="368"/>
                  </a:lnTo>
                  <a:lnTo>
                    <a:pt x="8" y="328"/>
                  </a:lnTo>
                  <a:lnTo>
                    <a:pt x="16" y="264"/>
                  </a:lnTo>
                  <a:lnTo>
                    <a:pt x="24" y="224"/>
                  </a:lnTo>
                  <a:lnTo>
                    <a:pt x="32" y="208"/>
                  </a:lnTo>
                  <a:lnTo>
                    <a:pt x="16" y="192"/>
                  </a:lnTo>
                  <a:lnTo>
                    <a:pt x="32" y="160"/>
                  </a:lnTo>
                  <a:lnTo>
                    <a:pt x="56" y="112"/>
                  </a:lnTo>
                  <a:lnTo>
                    <a:pt x="56" y="80"/>
                  </a:lnTo>
                  <a:lnTo>
                    <a:pt x="72" y="80"/>
                  </a:lnTo>
                  <a:lnTo>
                    <a:pt x="120" y="24"/>
                  </a:lnTo>
                  <a:lnTo>
                    <a:pt x="144" y="16"/>
                  </a:lnTo>
                  <a:lnTo>
                    <a:pt x="168" y="0"/>
                  </a:lnTo>
                  <a:lnTo>
                    <a:pt x="176" y="8"/>
                  </a:lnTo>
                  <a:lnTo>
                    <a:pt x="216" y="0"/>
                  </a:lnTo>
                  <a:lnTo>
                    <a:pt x="240" y="24"/>
                  </a:lnTo>
                  <a:lnTo>
                    <a:pt x="216" y="32"/>
                  </a:lnTo>
                  <a:lnTo>
                    <a:pt x="208" y="48"/>
                  </a:lnTo>
                  <a:lnTo>
                    <a:pt x="240" y="48"/>
                  </a:lnTo>
                  <a:lnTo>
                    <a:pt x="248" y="88"/>
                  </a:lnTo>
                  <a:lnTo>
                    <a:pt x="232" y="120"/>
                  </a:lnTo>
                  <a:lnTo>
                    <a:pt x="216" y="104"/>
                  </a:lnTo>
                  <a:lnTo>
                    <a:pt x="192" y="120"/>
                  </a:lnTo>
                  <a:lnTo>
                    <a:pt x="200" y="136"/>
                  </a:lnTo>
                  <a:lnTo>
                    <a:pt x="184" y="160"/>
                  </a:lnTo>
                  <a:lnTo>
                    <a:pt x="224" y="216"/>
                  </a:lnTo>
                  <a:lnTo>
                    <a:pt x="192" y="304"/>
                  </a:lnTo>
                  <a:lnTo>
                    <a:pt x="208" y="336"/>
                  </a:ln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23" name="Freeform 32"/>
            <p:cNvSpPr/>
            <p:nvPr/>
          </p:nvSpPr>
          <p:spPr bwMode="auto">
            <a:xfrm>
              <a:off x="3152775" y="3376613"/>
              <a:ext cx="477838" cy="836612"/>
            </a:xfrm>
            <a:custGeom>
              <a:avLst/>
              <a:gdLst>
                <a:gd name="T0" fmla="*/ 320 w 321"/>
                <a:gd name="T1" fmla="*/ 480 h 609"/>
                <a:gd name="T2" fmla="*/ 296 w 321"/>
                <a:gd name="T3" fmla="*/ 496 h 609"/>
                <a:gd name="T4" fmla="*/ 280 w 321"/>
                <a:gd name="T5" fmla="*/ 488 h 609"/>
                <a:gd name="T6" fmla="*/ 224 w 321"/>
                <a:gd name="T7" fmla="*/ 488 h 609"/>
                <a:gd name="T8" fmla="*/ 240 w 321"/>
                <a:gd name="T9" fmla="*/ 520 h 609"/>
                <a:gd name="T10" fmla="*/ 224 w 321"/>
                <a:gd name="T11" fmla="*/ 560 h 609"/>
                <a:gd name="T12" fmla="*/ 232 w 321"/>
                <a:gd name="T13" fmla="*/ 608 h 609"/>
                <a:gd name="T14" fmla="*/ 200 w 321"/>
                <a:gd name="T15" fmla="*/ 600 h 609"/>
                <a:gd name="T16" fmla="*/ 152 w 321"/>
                <a:gd name="T17" fmla="*/ 568 h 609"/>
                <a:gd name="T18" fmla="*/ 96 w 321"/>
                <a:gd name="T19" fmla="*/ 552 h 609"/>
                <a:gd name="T20" fmla="*/ 56 w 321"/>
                <a:gd name="T21" fmla="*/ 520 h 609"/>
                <a:gd name="T22" fmla="*/ 16 w 321"/>
                <a:gd name="T23" fmla="*/ 520 h 609"/>
                <a:gd name="T24" fmla="*/ 16 w 321"/>
                <a:gd name="T25" fmla="*/ 512 h 609"/>
                <a:gd name="T26" fmla="*/ 0 w 321"/>
                <a:gd name="T27" fmla="*/ 504 h 609"/>
                <a:gd name="T28" fmla="*/ 8 w 321"/>
                <a:gd name="T29" fmla="*/ 496 h 609"/>
                <a:gd name="T30" fmla="*/ 8 w 321"/>
                <a:gd name="T31" fmla="*/ 472 h 609"/>
                <a:gd name="T32" fmla="*/ 0 w 321"/>
                <a:gd name="T33" fmla="*/ 464 h 609"/>
                <a:gd name="T34" fmla="*/ 16 w 321"/>
                <a:gd name="T35" fmla="*/ 456 h 609"/>
                <a:gd name="T36" fmla="*/ 48 w 321"/>
                <a:gd name="T37" fmla="*/ 456 h 609"/>
                <a:gd name="T38" fmla="*/ 48 w 321"/>
                <a:gd name="T39" fmla="*/ 344 h 609"/>
                <a:gd name="T40" fmla="*/ 88 w 321"/>
                <a:gd name="T41" fmla="*/ 344 h 609"/>
                <a:gd name="T42" fmla="*/ 88 w 321"/>
                <a:gd name="T43" fmla="*/ 360 h 609"/>
                <a:gd name="T44" fmla="*/ 112 w 321"/>
                <a:gd name="T45" fmla="*/ 360 h 609"/>
                <a:gd name="T46" fmla="*/ 112 w 321"/>
                <a:gd name="T47" fmla="*/ 328 h 609"/>
                <a:gd name="T48" fmla="*/ 160 w 321"/>
                <a:gd name="T49" fmla="*/ 328 h 609"/>
                <a:gd name="T50" fmla="*/ 168 w 321"/>
                <a:gd name="T51" fmla="*/ 280 h 609"/>
                <a:gd name="T52" fmla="*/ 168 w 321"/>
                <a:gd name="T53" fmla="*/ 248 h 609"/>
                <a:gd name="T54" fmla="*/ 144 w 321"/>
                <a:gd name="T55" fmla="*/ 232 h 609"/>
                <a:gd name="T56" fmla="*/ 112 w 321"/>
                <a:gd name="T57" fmla="*/ 208 h 609"/>
                <a:gd name="T58" fmla="*/ 96 w 321"/>
                <a:gd name="T59" fmla="*/ 184 h 609"/>
                <a:gd name="T60" fmla="*/ 104 w 321"/>
                <a:gd name="T61" fmla="*/ 144 h 609"/>
                <a:gd name="T62" fmla="*/ 120 w 321"/>
                <a:gd name="T63" fmla="*/ 128 h 609"/>
                <a:gd name="T64" fmla="*/ 144 w 321"/>
                <a:gd name="T65" fmla="*/ 144 h 609"/>
                <a:gd name="T66" fmla="*/ 176 w 321"/>
                <a:gd name="T67" fmla="*/ 144 h 609"/>
                <a:gd name="T68" fmla="*/ 184 w 321"/>
                <a:gd name="T69" fmla="*/ 120 h 609"/>
                <a:gd name="T70" fmla="*/ 200 w 321"/>
                <a:gd name="T71" fmla="*/ 120 h 609"/>
                <a:gd name="T72" fmla="*/ 192 w 321"/>
                <a:gd name="T73" fmla="*/ 88 h 609"/>
                <a:gd name="T74" fmla="*/ 248 w 321"/>
                <a:gd name="T75" fmla="*/ 32 h 609"/>
                <a:gd name="T76" fmla="*/ 248 w 321"/>
                <a:gd name="T77" fmla="*/ 16 h 609"/>
                <a:gd name="T78" fmla="*/ 280 w 321"/>
                <a:gd name="T79" fmla="*/ 16 h 609"/>
                <a:gd name="T80" fmla="*/ 288 w 321"/>
                <a:gd name="T81" fmla="*/ 24 h 609"/>
                <a:gd name="T82" fmla="*/ 296 w 321"/>
                <a:gd name="T83" fmla="*/ 8 h 609"/>
                <a:gd name="T84" fmla="*/ 304 w 321"/>
                <a:gd name="T85" fmla="*/ 0 h 609"/>
                <a:gd name="T86" fmla="*/ 320 w 321"/>
                <a:gd name="T87" fmla="*/ 24 h 609"/>
                <a:gd name="T88" fmla="*/ 320 w 321"/>
                <a:gd name="T89" fmla="*/ 32 h 609"/>
                <a:gd name="T90" fmla="*/ 280 w 321"/>
                <a:gd name="T91" fmla="*/ 112 h 609"/>
                <a:gd name="T92" fmla="*/ 296 w 321"/>
                <a:gd name="T93" fmla="*/ 128 h 609"/>
                <a:gd name="T94" fmla="*/ 280 w 321"/>
                <a:gd name="T95" fmla="*/ 184 h 609"/>
                <a:gd name="T96" fmla="*/ 272 w 321"/>
                <a:gd name="T97" fmla="*/ 248 h 609"/>
                <a:gd name="T98" fmla="*/ 288 w 321"/>
                <a:gd name="T99" fmla="*/ 288 h 609"/>
                <a:gd name="T100" fmla="*/ 264 w 321"/>
                <a:gd name="T101" fmla="*/ 360 h 609"/>
                <a:gd name="T102" fmla="*/ 272 w 321"/>
                <a:gd name="T103" fmla="*/ 376 h 609"/>
                <a:gd name="T104" fmla="*/ 288 w 321"/>
                <a:gd name="T105" fmla="*/ 432 h 609"/>
                <a:gd name="T106" fmla="*/ 320 w 321"/>
                <a:gd name="T107" fmla="*/ 480 h 609"/>
                <a:gd name="T108" fmla="*/ 0 w 321"/>
                <a:gd name="T109" fmla="*/ 0 h 609"/>
                <a:gd name="T110" fmla="*/ 321 w 321"/>
                <a:gd name="T111" fmla="*/ 609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T108" t="T109" r="T110" b="T111"/>
              <a:pathLst>
                <a:path w="321" h="609">
                  <a:moveTo>
                    <a:pt x="320" y="480"/>
                  </a:moveTo>
                  <a:lnTo>
                    <a:pt x="296" y="496"/>
                  </a:lnTo>
                  <a:lnTo>
                    <a:pt x="280" y="488"/>
                  </a:lnTo>
                  <a:lnTo>
                    <a:pt x="224" y="488"/>
                  </a:lnTo>
                  <a:lnTo>
                    <a:pt x="240" y="520"/>
                  </a:lnTo>
                  <a:lnTo>
                    <a:pt x="224" y="560"/>
                  </a:lnTo>
                  <a:lnTo>
                    <a:pt x="232" y="608"/>
                  </a:lnTo>
                  <a:lnTo>
                    <a:pt x="200" y="600"/>
                  </a:lnTo>
                  <a:lnTo>
                    <a:pt x="152" y="568"/>
                  </a:lnTo>
                  <a:lnTo>
                    <a:pt x="96" y="552"/>
                  </a:lnTo>
                  <a:lnTo>
                    <a:pt x="56" y="520"/>
                  </a:lnTo>
                  <a:lnTo>
                    <a:pt x="16" y="520"/>
                  </a:lnTo>
                  <a:lnTo>
                    <a:pt x="16" y="512"/>
                  </a:lnTo>
                  <a:lnTo>
                    <a:pt x="0" y="504"/>
                  </a:lnTo>
                  <a:lnTo>
                    <a:pt x="8" y="496"/>
                  </a:lnTo>
                  <a:lnTo>
                    <a:pt x="8" y="472"/>
                  </a:lnTo>
                  <a:lnTo>
                    <a:pt x="0" y="464"/>
                  </a:lnTo>
                  <a:lnTo>
                    <a:pt x="16" y="456"/>
                  </a:lnTo>
                  <a:lnTo>
                    <a:pt x="48" y="456"/>
                  </a:lnTo>
                  <a:lnTo>
                    <a:pt x="48" y="344"/>
                  </a:lnTo>
                  <a:lnTo>
                    <a:pt x="88" y="344"/>
                  </a:lnTo>
                  <a:lnTo>
                    <a:pt x="88" y="360"/>
                  </a:lnTo>
                  <a:lnTo>
                    <a:pt x="112" y="360"/>
                  </a:lnTo>
                  <a:lnTo>
                    <a:pt x="112" y="328"/>
                  </a:lnTo>
                  <a:lnTo>
                    <a:pt x="160" y="328"/>
                  </a:lnTo>
                  <a:lnTo>
                    <a:pt x="168" y="280"/>
                  </a:lnTo>
                  <a:lnTo>
                    <a:pt x="168" y="248"/>
                  </a:lnTo>
                  <a:lnTo>
                    <a:pt x="144" y="232"/>
                  </a:lnTo>
                  <a:lnTo>
                    <a:pt x="112" y="208"/>
                  </a:lnTo>
                  <a:lnTo>
                    <a:pt x="96" y="184"/>
                  </a:lnTo>
                  <a:lnTo>
                    <a:pt x="104" y="144"/>
                  </a:lnTo>
                  <a:lnTo>
                    <a:pt x="120" y="128"/>
                  </a:lnTo>
                  <a:lnTo>
                    <a:pt x="144" y="144"/>
                  </a:lnTo>
                  <a:lnTo>
                    <a:pt x="176" y="144"/>
                  </a:lnTo>
                  <a:lnTo>
                    <a:pt x="184" y="120"/>
                  </a:lnTo>
                  <a:lnTo>
                    <a:pt x="200" y="120"/>
                  </a:lnTo>
                  <a:lnTo>
                    <a:pt x="192" y="88"/>
                  </a:lnTo>
                  <a:lnTo>
                    <a:pt x="248" y="32"/>
                  </a:lnTo>
                  <a:lnTo>
                    <a:pt x="248" y="16"/>
                  </a:lnTo>
                  <a:lnTo>
                    <a:pt x="280" y="16"/>
                  </a:lnTo>
                  <a:lnTo>
                    <a:pt x="288" y="24"/>
                  </a:lnTo>
                  <a:lnTo>
                    <a:pt x="296" y="8"/>
                  </a:lnTo>
                  <a:lnTo>
                    <a:pt x="304" y="0"/>
                  </a:lnTo>
                  <a:lnTo>
                    <a:pt x="320" y="24"/>
                  </a:lnTo>
                  <a:lnTo>
                    <a:pt x="320" y="32"/>
                  </a:lnTo>
                  <a:lnTo>
                    <a:pt x="280" y="112"/>
                  </a:lnTo>
                  <a:lnTo>
                    <a:pt x="296" y="128"/>
                  </a:lnTo>
                  <a:lnTo>
                    <a:pt x="280" y="184"/>
                  </a:lnTo>
                  <a:lnTo>
                    <a:pt x="272" y="248"/>
                  </a:lnTo>
                  <a:lnTo>
                    <a:pt x="288" y="288"/>
                  </a:lnTo>
                  <a:lnTo>
                    <a:pt x="264" y="360"/>
                  </a:lnTo>
                  <a:lnTo>
                    <a:pt x="272" y="376"/>
                  </a:lnTo>
                  <a:lnTo>
                    <a:pt x="288" y="432"/>
                  </a:lnTo>
                  <a:lnTo>
                    <a:pt x="320" y="480"/>
                  </a:ln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24" name="Freeform 33"/>
            <p:cNvSpPr/>
            <p:nvPr/>
          </p:nvSpPr>
          <p:spPr bwMode="auto">
            <a:xfrm>
              <a:off x="3062288" y="3387725"/>
              <a:ext cx="261937" cy="431800"/>
            </a:xfrm>
            <a:custGeom>
              <a:avLst/>
              <a:gdLst>
                <a:gd name="T0" fmla="*/ 176 w 177"/>
                <a:gd name="T1" fmla="*/ 120 h 313"/>
                <a:gd name="T2" fmla="*/ 160 w 177"/>
                <a:gd name="T3" fmla="*/ 104 h 313"/>
                <a:gd name="T4" fmla="*/ 120 w 177"/>
                <a:gd name="T5" fmla="*/ 88 h 313"/>
                <a:gd name="T6" fmla="*/ 136 w 177"/>
                <a:gd name="T7" fmla="*/ 32 h 313"/>
                <a:gd name="T8" fmla="*/ 128 w 177"/>
                <a:gd name="T9" fmla="*/ 0 h 313"/>
                <a:gd name="T10" fmla="*/ 72 w 177"/>
                <a:gd name="T11" fmla="*/ 56 h 313"/>
                <a:gd name="T12" fmla="*/ 64 w 177"/>
                <a:gd name="T13" fmla="*/ 112 h 313"/>
                <a:gd name="T14" fmla="*/ 40 w 177"/>
                <a:gd name="T15" fmla="*/ 120 h 313"/>
                <a:gd name="T16" fmla="*/ 8 w 177"/>
                <a:gd name="T17" fmla="*/ 144 h 313"/>
                <a:gd name="T18" fmla="*/ 0 w 177"/>
                <a:gd name="T19" fmla="*/ 168 h 313"/>
                <a:gd name="T20" fmla="*/ 40 w 177"/>
                <a:gd name="T21" fmla="*/ 192 h 313"/>
                <a:gd name="T22" fmla="*/ 40 w 177"/>
                <a:gd name="T23" fmla="*/ 224 h 313"/>
                <a:gd name="T24" fmla="*/ 48 w 177"/>
                <a:gd name="T25" fmla="*/ 240 h 313"/>
                <a:gd name="T26" fmla="*/ 40 w 177"/>
                <a:gd name="T27" fmla="*/ 264 h 313"/>
                <a:gd name="T28" fmla="*/ 48 w 177"/>
                <a:gd name="T29" fmla="*/ 280 h 313"/>
                <a:gd name="T30" fmla="*/ 96 w 177"/>
                <a:gd name="T31" fmla="*/ 312 h 313"/>
                <a:gd name="T32" fmla="*/ 112 w 177"/>
                <a:gd name="T33" fmla="*/ 312 h 313"/>
                <a:gd name="T34" fmla="*/ 112 w 177"/>
                <a:gd name="T35" fmla="*/ 296 h 313"/>
                <a:gd name="T36" fmla="*/ 128 w 177"/>
                <a:gd name="T37" fmla="*/ 272 h 313"/>
                <a:gd name="T38" fmla="*/ 120 w 177"/>
                <a:gd name="T39" fmla="*/ 240 h 313"/>
                <a:gd name="T40" fmla="*/ 112 w 177"/>
                <a:gd name="T41" fmla="*/ 240 h 313"/>
                <a:gd name="T42" fmla="*/ 104 w 177"/>
                <a:gd name="T43" fmla="*/ 208 h 313"/>
                <a:gd name="T44" fmla="*/ 120 w 177"/>
                <a:gd name="T45" fmla="*/ 208 h 313"/>
                <a:gd name="T46" fmla="*/ 120 w 177"/>
                <a:gd name="T47" fmla="*/ 176 h 313"/>
                <a:gd name="T48" fmla="*/ 136 w 177"/>
                <a:gd name="T49" fmla="*/ 176 h 313"/>
                <a:gd name="T50" fmla="*/ 152 w 177"/>
                <a:gd name="T51" fmla="*/ 184 h 313"/>
                <a:gd name="T52" fmla="*/ 160 w 177"/>
                <a:gd name="T53" fmla="*/ 136 h 313"/>
                <a:gd name="T54" fmla="*/ 176 w 177"/>
                <a:gd name="T55" fmla="*/ 120 h 313"/>
                <a:gd name="T56" fmla="*/ 0 w 177"/>
                <a:gd name="T57" fmla="*/ 0 h 313"/>
                <a:gd name="T58" fmla="*/ 177 w 177"/>
                <a:gd name="T59" fmla="*/ 313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T56" t="T57" r="T58" b="T59"/>
              <a:pathLst>
                <a:path w="177" h="313">
                  <a:moveTo>
                    <a:pt x="176" y="120"/>
                  </a:moveTo>
                  <a:lnTo>
                    <a:pt x="160" y="104"/>
                  </a:lnTo>
                  <a:lnTo>
                    <a:pt x="120" y="88"/>
                  </a:lnTo>
                  <a:lnTo>
                    <a:pt x="136" y="32"/>
                  </a:lnTo>
                  <a:lnTo>
                    <a:pt x="128" y="0"/>
                  </a:lnTo>
                  <a:lnTo>
                    <a:pt x="72" y="56"/>
                  </a:lnTo>
                  <a:lnTo>
                    <a:pt x="64" y="112"/>
                  </a:lnTo>
                  <a:lnTo>
                    <a:pt x="40" y="120"/>
                  </a:lnTo>
                  <a:lnTo>
                    <a:pt x="8" y="144"/>
                  </a:lnTo>
                  <a:lnTo>
                    <a:pt x="0" y="168"/>
                  </a:lnTo>
                  <a:lnTo>
                    <a:pt x="40" y="192"/>
                  </a:lnTo>
                  <a:lnTo>
                    <a:pt x="40" y="224"/>
                  </a:lnTo>
                  <a:lnTo>
                    <a:pt x="48" y="240"/>
                  </a:lnTo>
                  <a:lnTo>
                    <a:pt x="40" y="264"/>
                  </a:lnTo>
                  <a:lnTo>
                    <a:pt x="48" y="280"/>
                  </a:lnTo>
                  <a:lnTo>
                    <a:pt x="96" y="312"/>
                  </a:lnTo>
                  <a:lnTo>
                    <a:pt x="112" y="312"/>
                  </a:lnTo>
                  <a:lnTo>
                    <a:pt x="112" y="296"/>
                  </a:lnTo>
                  <a:lnTo>
                    <a:pt x="128" y="272"/>
                  </a:lnTo>
                  <a:lnTo>
                    <a:pt x="120" y="240"/>
                  </a:lnTo>
                  <a:lnTo>
                    <a:pt x="112" y="240"/>
                  </a:lnTo>
                  <a:lnTo>
                    <a:pt x="104" y="208"/>
                  </a:lnTo>
                  <a:lnTo>
                    <a:pt x="120" y="208"/>
                  </a:lnTo>
                  <a:lnTo>
                    <a:pt x="120" y="176"/>
                  </a:lnTo>
                  <a:lnTo>
                    <a:pt x="136" y="176"/>
                  </a:lnTo>
                  <a:lnTo>
                    <a:pt x="152" y="184"/>
                  </a:lnTo>
                  <a:lnTo>
                    <a:pt x="160" y="136"/>
                  </a:lnTo>
                  <a:lnTo>
                    <a:pt x="176" y="120"/>
                  </a:lnTo>
                </a:path>
              </a:pathLst>
            </a:custGeom>
            <a:solidFill>
              <a:srgbClr val="7F7F7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25" name="Freeform 34"/>
            <p:cNvSpPr/>
            <p:nvPr/>
          </p:nvSpPr>
          <p:spPr bwMode="auto">
            <a:xfrm>
              <a:off x="2125663" y="2959100"/>
              <a:ext cx="1277937" cy="1155700"/>
            </a:xfrm>
            <a:custGeom>
              <a:avLst/>
              <a:gdLst>
                <a:gd name="T0" fmla="*/ 632 w 857"/>
                <a:gd name="T1" fmla="*/ 480 h 841"/>
                <a:gd name="T2" fmla="*/ 672 w 857"/>
                <a:gd name="T3" fmla="*/ 536 h 841"/>
                <a:gd name="T4" fmla="*/ 672 w 857"/>
                <a:gd name="T5" fmla="*/ 568 h 841"/>
                <a:gd name="T6" fmla="*/ 736 w 857"/>
                <a:gd name="T7" fmla="*/ 624 h 841"/>
                <a:gd name="T8" fmla="*/ 744 w 857"/>
                <a:gd name="T9" fmla="*/ 600 h 841"/>
                <a:gd name="T10" fmla="*/ 752 w 857"/>
                <a:gd name="T11" fmla="*/ 552 h 841"/>
                <a:gd name="T12" fmla="*/ 736 w 857"/>
                <a:gd name="T13" fmla="*/ 520 h 841"/>
                <a:gd name="T14" fmla="*/ 752 w 857"/>
                <a:gd name="T15" fmla="*/ 488 h 841"/>
                <a:gd name="T16" fmla="*/ 800 w 857"/>
                <a:gd name="T17" fmla="*/ 512 h 841"/>
                <a:gd name="T18" fmla="*/ 856 w 857"/>
                <a:gd name="T19" fmla="*/ 552 h 841"/>
                <a:gd name="T20" fmla="*/ 800 w 857"/>
                <a:gd name="T21" fmla="*/ 632 h 841"/>
                <a:gd name="T22" fmla="*/ 776 w 857"/>
                <a:gd name="T23" fmla="*/ 664 h 841"/>
                <a:gd name="T24" fmla="*/ 736 w 857"/>
                <a:gd name="T25" fmla="*/ 648 h 841"/>
                <a:gd name="T26" fmla="*/ 704 w 857"/>
                <a:gd name="T27" fmla="*/ 752 h 841"/>
                <a:gd name="T28" fmla="*/ 696 w 857"/>
                <a:gd name="T29" fmla="*/ 776 h 841"/>
                <a:gd name="T30" fmla="*/ 688 w 857"/>
                <a:gd name="T31" fmla="*/ 808 h 841"/>
                <a:gd name="T32" fmla="*/ 632 w 857"/>
                <a:gd name="T33" fmla="*/ 840 h 841"/>
                <a:gd name="T34" fmla="*/ 592 w 857"/>
                <a:gd name="T35" fmla="*/ 760 h 841"/>
                <a:gd name="T36" fmla="*/ 576 w 857"/>
                <a:gd name="T37" fmla="*/ 752 h 841"/>
                <a:gd name="T38" fmla="*/ 528 w 857"/>
                <a:gd name="T39" fmla="*/ 696 h 841"/>
                <a:gd name="T40" fmla="*/ 496 w 857"/>
                <a:gd name="T41" fmla="*/ 712 h 841"/>
                <a:gd name="T42" fmla="*/ 488 w 857"/>
                <a:gd name="T43" fmla="*/ 728 h 841"/>
                <a:gd name="T44" fmla="*/ 480 w 857"/>
                <a:gd name="T45" fmla="*/ 776 h 841"/>
                <a:gd name="T46" fmla="*/ 464 w 857"/>
                <a:gd name="T47" fmla="*/ 744 h 841"/>
                <a:gd name="T48" fmla="*/ 416 w 857"/>
                <a:gd name="T49" fmla="*/ 728 h 841"/>
                <a:gd name="T50" fmla="*/ 408 w 857"/>
                <a:gd name="T51" fmla="*/ 688 h 841"/>
                <a:gd name="T52" fmla="*/ 456 w 857"/>
                <a:gd name="T53" fmla="*/ 696 h 841"/>
                <a:gd name="T54" fmla="*/ 488 w 857"/>
                <a:gd name="T55" fmla="*/ 672 h 841"/>
                <a:gd name="T56" fmla="*/ 464 w 857"/>
                <a:gd name="T57" fmla="*/ 640 h 841"/>
                <a:gd name="T58" fmla="*/ 504 w 857"/>
                <a:gd name="T59" fmla="*/ 600 h 841"/>
                <a:gd name="T60" fmla="*/ 536 w 857"/>
                <a:gd name="T61" fmla="*/ 568 h 841"/>
                <a:gd name="T62" fmla="*/ 480 w 857"/>
                <a:gd name="T63" fmla="*/ 408 h 841"/>
                <a:gd name="T64" fmla="*/ 408 w 857"/>
                <a:gd name="T65" fmla="*/ 360 h 841"/>
                <a:gd name="T66" fmla="*/ 344 w 857"/>
                <a:gd name="T67" fmla="*/ 336 h 841"/>
                <a:gd name="T68" fmla="*/ 280 w 857"/>
                <a:gd name="T69" fmla="*/ 312 h 841"/>
                <a:gd name="T70" fmla="*/ 208 w 857"/>
                <a:gd name="T71" fmla="*/ 336 h 841"/>
                <a:gd name="T72" fmla="*/ 48 w 857"/>
                <a:gd name="T73" fmla="*/ 240 h 841"/>
                <a:gd name="T74" fmla="*/ 8 w 857"/>
                <a:gd name="T75" fmla="*/ 160 h 841"/>
                <a:gd name="T76" fmla="*/ 48 w 857"/>
                <a:gd name="T77" fmla="*/ 152 h 841"/>
                <a:gd name="T78" fmla="*/ 112 w 857"/>
                <a:gd name="T79" fmla="*/ 96 h 841"/>
                <a:gd name="T80" fmla="*/ 136 w 857"/>
                <a:gd name="T81" fmla="*/ 64 h 841"/>
                <a:gd name="T82" fmla="*/ 216 w 857"/>
                <a:gd name="T83" fmla="*/ 32 h 841"/>
                <a:gd name="T84" fmla="*/ 232 w 857"/>
                <a:gd name="T85" fmla="*/ 0 h 841"/>
                <a:gd name="T86" fmla="*/ 288 w 857"/>
                <a:gd name="T87" fmla="*/ 72 h 841"/>
                <a:gd name="T88" fmla="*/ 296 w 857"/>
                <a:gd name="T89" fmla="*/ 128 h 841"/>
                <a:gd name="T90" fmla="*/ 312 w 857"/>
                <a:gd name="T91" fmla="*/ 176 h 841"/>
                <a:gd name="T92" fmla="*/ 336 w 857"/>
                <a:gd name="T93" fmla="*/ 192 h 841"/>
                <a:gd name="T94" fmla="*/ 408 w 857"/>
                <a:gd name="T95" fmla="*/ 176 h 841"/>
                <a:gd name="T96" fmla="*/ 408 w 857"/>
                <a:gd name="T97" fmla="*/ 216 h 841"/>
                <a:gd name="T98" fmla="*/ 384 w 857"/>
                <a:gd name="T99" fmla="*/ 256 h 841"/>
                <a:gd name="T100" fmla="*/ 432 w 857"/>
                <a:gd name="T101" fmla="*/ 328 h 841"/>
                <a:gd name="T102" fmla="*/ 496 w 857"/>
                <a:gd name="T103" fmla="*/ 344 h 841"/>
                <a:gd name="T104" fmla="*/ 528 w 857"/>
                <a:gd name="T105" fmla="*/ 320 h 841"/>
                <a:gd name="T106" fmla="*/ 584 w 857"/>
                <a:gd name="T107" fmla="*/ 320 h 841"/>
                <a:gd name="T108" fmla="*/ 624 w 857"/>
                <a:gd name="T109" fmla="*/ 336 h 841"/>
                <a:gd name="T110" fmla="*/ 576 w 857"/>
                <a:gd name="T111" fmla="*/ 392 h 841"/>
                <a:gd name="T112" fmla="*/ 600 w 857"/>
                <a:gd name="T113" fmla="*/ 456 h 841"/>
                <a:gd name="T114" fmla="*/ 0 w 857"/>
                <a:gd name="T115" fmla="*/ 0 h 841"/>
                <a:gd name="T116" fmla="*/ 857 w 857"/>
                <a:gd name="T117" fmla="*/ 841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T114" t="T115" r="T116" b="T117"/>
              <a:pathLst>
                <a:path w="857" h="841">
                  <a:moveTo>
                    <a:pt x="640" y="456"/>
                  </a:moveTo>
                  <a:lnTo>
                    <a:pt x="632" y="480"/>
                  </a:lnTo>
                  <a:lnTo>
                    <a:pt x="680" y="504"/>
                  </a:lnTo>
                  <a:lnTo>
                    <a:pt x="672" y="536"/>
                  </a:lnTo>
                  <a:lnTo>
                    <a:pt x="680" y="544"/>
                  </a:lnTo>
                  <a:lnTo>
                    <a:pt x="672" y="568"/>
                  </a:lnTo>
                  <a:lnTo>
                    <a:pt x="680" y="592"/>
                  </a:lnTo>
                  <a:lnTo>
                    <a:pt x="736" y="624"/>
                  </a:lnTo>
                  <a:lnTo>
                    <a:pt x="744" y="624"/>
                  </a:lnTo>
                  <a:lnTo>
                    <a:pt x="744" y="600"/>
                  </a:lnTo>
                  <a:lnTo>
                    <a:pt x="760" y="584"/>
                  </a:lnTo>
                  <a:lnTo>
                    <a:pt x="752" y="552"/>
                  </a:lnTo>
                  <a:lnTo>
                    <a:pt x="736" y="544"/>
                  </a:lnTo>
                  <a:lnTo>
                    <a:pt x="736" y="520"/>
                  </a:lnTo>
                  <a:lnTo>
                    <a:pt x="752" y="520"/>
                  </a:lnTo>
                  <a:lnTo>
                    <a:pt x="752" y="488"/>
                  </a:lnTo>
                  <a:lnTo>
                    <a:pt x="784" y="496"/>
                  </a:lnTo>
                  <a:lnTo>
                    <a:pt x="800" y="512"/>
                  </a:lnTo>
                  <a:lnTo>
                    <a:pt x="840" y="536"/>
                  </a:lnTo>
                  <a:lnTo>
                    <a:pt x="856" y="552"/>
                  </a:lnTo>
                  <a:lnTo>
                    <a:pt x="848" y="632"/>
                  </a:lnTo>
                  <a:lnTo>
                    <a:pt x="800" y="632"/>
                  </a:lnTo>
                  <a:lnTo>
                    <a:pt x="800" y="664"/>
                  </a:lnTo>
                  <a:lnTo>
                    <a:pt x="776" y="664"/>
                  </a:lnTo>
                  <a:lnTo>
                    <a:pt x="776" y="648"/>
                  </a:lnTo>
                  <a:lnTo>
                    <a:pt x="736" y="648"/>
                  </a:lnTo>
                  <a:lnTo>
                    <a:pt x="736" y="760"/>
                  </a:lnTo>
                  <a:lnTo>
                    <a:pt x="704" y="752"/>
                  </a:lnTo>
                  <a:lnTo>
                    <a:pt x="688" y="768"/>
                  </a:lnTo>
                  <a:lnTo>
                    <a:pt x="696" y="776"/>
                  </a:lnTo>
                  <a:lnTo>
                    <a:pt x="704" y="800"/>
                  </a:lnTo>
                  <a:lnTo>
                    <a:pt x="688" y="808"/>
                  </a:lnTo>
                  <a:lnTo>
                    <a:pt x="664" y="840"/>
                  </a:lnTo>
                  <a:lnTo>
                    <a:pt x="632" y="840"/>
                  </a:lnTo>
                  <a:lnTo>
                    <a:pt x="608" y="816"/>
                  </a:lnTo>
                  <a:lnTo>
                    <a:pt x="592" y="760"/>
                  </a:lnTo>
                  <a:lnTo>
                    <a:pt x="592" y="752"/>
                  </a:lnTo>
                  <a:lnTo>
                    <a:pt x="576" y="752"/>
                  </a:lnTo>
                  <a:lnTo>
                    <a:pt x="544" y="736"/>
                  </a:lnTo>
                  <a:lnTo>
                    <a:pt x="528" y="696"/>
                  </a:lnTo>
                  <a:lnTo>
                    <a:pt x="512" y="704"/>
                  </a:lnTo>
                  <a:lnTo>
                    <a:pt x="496" y="712"/>
                  </a:lnTo>
                  <a:lnTo>
                    <a:pt x="488" y="712"/>
                  </a:lnTo>
                  <a:lnTo>
                    <a:pt x="488" y="728"/>
                  </a:lnTo>
                  <a:lnTo>
                    <a:pt x="496" y="752"/>
                  </a:lnTo>
                  <a:lnTo>
                    <a:pt x="480" y="776"/>
                  </a:lnTo>
                  <a:lnTo>
                    <a:pt x="448" y="768"/>
                  </a:lnTo>
                  <a:lnTo>
                    <a:pt x="464" y="744"/>
                  </a:lnTo>
                  <a:lnTo>
                    <a:pt x="448" y="736"/>
                  </a:lnTo>
                  <a:lnTo>
                    <a:pt x="416" y="728"/>
                  </a:lnTo>
                  <a:lnTo>
                    <a:pt x="400" y="704"/>
                  </a:lnTo>
                  <a:lnTo>
                    <a:pt x="408" y="688"/>
                  </a:lnTo>
                  <a:lnTo>
                    <a:pt x="424" y="688"/>
                  </a:lnTo>
                  <a:lnTo>
                    <a:pt x="456" y="696"/>
                  </a:lnTo>
                  <a:lnTo>
                    <a:pt x="480" y="680"/>
                  </a:lnTo>
                  <a:lnTo>
                    <a:pt x="488" y="672"/>
                  </a:lnTo>
                  <a:lnTo>
                    <a:pt x="464" y="664"/>
                  </a:lnTo>
                  <a:lnTo>
                    <a:pt x="464" y="640"/>
                  </a:lnTo>
                  <a:lnTo>
                    <a:pt x="496" y="632"/>
                  </a:lnTo>
                  <a:lnTo>
                    <a:pt x="504" y="600"/>
                  </a:lnTo>
                  <a:lnTo>
                    <a:pt x="528" y="600"/>
                  </a:lnTo>
                  <a:lnTo>
                    <a:pt x="536" y="568"/>
                  </a:lnTo>
                  <a:lnTo>
                    <a:pt x="520" y="480"/>
                  </a:lnTo>
                  <a:lnTo>
                    <a:pt x="480" y="408"/>
                  </a:lnTo>
                  <a:lnTo>
                    <a:pt x="480" y="432"/>
                  </a:lnTo>
                  <a:lnTo>
                    <a:pt x="408" y="360"/>
                  </a:lnTo>
                  <a:lnTo>
                    <a:pt x="392" y="368"/>
                  </a:lnTo>
                  <a:lnTo>
                    <a:pt x="344" y="336"/>
                  </a:lnTo>
                  <a:lnTo>
                    <a:pt x="336" y="304"/>
                  </a:lnTo>
                  <a:lnTo>
                    <a:pt x="280" y="312"/>
                  </a:lnTo>
                  <a:lnTo>
                    <a:pt x="224" y="288"/>
                  </a:lnTo>
                  <a:lnTo>
                    <a:pt x="208" y="336"/>
                  </a:lnTo>
                  <a:lnTo>
                    <a:pt x="136" y="280"/>
                  </a:lnTo>
                  <a:lnTo>
                    <a:pt x="48" y="240"/>
                  </a:lnTo>
                  <a:lnTo>
                    <a:pt x="0" y="248"/>
                  </a:lnTo>
                  <a:lnTo>
                    <a:pt x="8" y="160"/>
                  </a:lnTo>
                  <a:lnTo>
                    <a:pt x="24" y="144"/>
                  </a:lnTo>
                  <a:lnTo>
                    <a:pt x="48" y="152"/>
                  </a:lnTo>
                  <a:lnTo>
                    <a:pt x="72" y="112"/>
                  </a:lnTo>
                  <a:lnTo>
                    <a:pt x="112" y="96"/>
                  </a:lnTo>
                  <a:lnTo>
                    <a:pt x="136" y="80"/>
                  </a:lnTo>
                  <a:lnTo>
                    <a:pt x="136" y="64"/>
                  </a:lnTo>
                  <a:lnTo>
                    <a:pt x="200" y="64"/>
                  </a:lnTo>
                  <a:lnTo>
                    <a:pt x="216" y="32"/>
                  </a:lnTo>
                  <a:lnTo>
                    <a:pt x="216" y="8"/>
                  </a:lnTo>
                  <a:lnTo>
                    <a:pt x="232" y="0"/>
                  </a:lnTo>
                  <a:lnTo>
                    <a:pt x="272" y="8"/>
                  </a:lnTo>
                  <a:lnTo>
                    <a:pt x="288" y="72"/>
                  </a:lnTo>
                  <a:lnTo>
                    <a:pt x="288" y="104"/>
                  </a:lnTo>
                  <a:lnTo>
                    <a:pt x="296" y="128"/>
                  </a:lnTo>
                  <a:lnTo>
                    <a:pt x="312" y="152"/>
                  </a:lnTo>
                  <a:lnTo>
                    <a:pt x="312" y="176"/>
                  </a:lnTo>
                  <a:lnTo>
                    <a:pt x="320" y="192"/>
                  </a:lnTo>
                  <a:lnTo>
                    <a:pt x="336" y="192"/>
                  </a:lnTo>
                  <a:lnTo>
                    <a:pt x="336" y="168"/>
                  </a:lnTo>
                  <a:lnTo>
                    <a:pt x="408" y="176"/>
                  </a:lnTo>
                  <a:lnTo>
                    <a:pt x="408" y="200"/>
                  </a:lnTo>
                  <a:lnTo>
                    <a:pt x="408" y="216"/>
                  </a:lnTo>
                  <a:lnTo>
                    <a:pt x="384" y="240"/>
                  </a:lnTo>
                  <a:lnTo>
                    <a:pt x="384" y="256"/>
                  </a:lnTo>
                  <a:lnTo>
                    <a:pt x="432" y="304"/>
                  </a:lnTo>
                  <a:lnTo>
                    <a:pt x="432" y="328"/>
                  </a:lnTo>
                  <a:lnTo>
                    <a:pt x="488" y="352"/>
                  </a:lnTo>
                  <a:lnTo>
                    <a:pt x="496" y="344"/>
                  </a:lnTo>
                  <a:lnTo>
                    <a:pt x="488" y="312"/>
                  </a:lnTo>
                  <a:lnTo>
                    <a:pt x="528" y="320"/>
                  </a:lnTo>
                  <a:lnTo>
                    <a:pt x="536" y="320"/>
                  </a:lnTo>
                  <a:lnTo>
                    <a:pt x="584" y="320"/>
                  </a:lnTo>
                  <a:lnTo>
                    <a:pt x="608" y="312"/>
                  </a:lnTo>
                  <a:lnTo>
                    <a:pt x="624" y="336"/>
                  </a:lnTo>
                  <a:lnTo>
                    <a:pt x="584" y="368"/>
                  </a:lnTo>
                  <a:lnTo>
                    <a:pt x="576" y="392"/>
                  </a:lnTo>
                  <a:lnTo>
                    <a:pt x="568" y="416"/>
                  </a:lnTo>
                  <a:lnTo>
                    <a:pt x="600" y="456"/>
                  </a:lnTo>
                  <a:lnTo>
                    <a:pt x="640" y="456"/>
                  </a:ln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26" name="Freeform 35"/>
            <p:cNvSpPr/>
            <p:nvPr/>
          </p:nvSpPr>
          <p:spPr bwMode="auto">
            <a:xfrm>
              <a:off x="2530475" y="1892300"/>
              <a:ext cx="2124075" cy="1706563"/>
            </a:xfrm>
            <a:custGeom>
              <a:avLst/>
              <a:gdLst>
                <a:gd name="T0" fmla="*/ 16 w 1425"/>
                <a:gd name="T1" fmla="*/ 896 h 1241"/>
                <a:gd name="T2" fmla="*/ 64 w 1425"/>
                <a:gd name="T3" fmla="*/ 968 h 1241"/>
                <a:gd name="T4" fmla="*/ 136 w 1425"/>
                <a:gd name="T5" fmla="*/ 976 h 1241"/>
                <a:gd name="T6" fmla="*/ 112 w 1425"/>
                <a:gd name="T7" fmla="*/ 1032 h 1241"/>
                <a:gd name="T8" fmla="*/ 216 w 1425"/>
                <a:gd name="T9" fmla="*/ 1128 h 1241"/>
                <a:gd name="T10" fmla="*/ 256 w 1425"/>
                <a:gd name="T11" fmla="*/ 1096 h 1241"/>
                <a:gd name="T12" fmla="*/ 352 w 1425"/>
                <a:gd name="T13" fmla="*/ 1104 h 1241"/>
                <a:gd name="T14" fmla="*/ 328 w 1425"/>
                <a:gd name="T15" fmla="*/ 1240 h 1241"/>
                <a:gd name="T16" fmla="*/ 424 w 1425"/>
                <a:gd name="T17" fmla="*/ 1200 h 1241"/>
                <a:gd name="T18" fmla="*/ 496 w 1425"/>
                <a:gd name="T19" fmla="*/ 1112 h 1241"/>
                <a:gd name="T20" fmla="*/ 560 w 1425"/>
                <a:gd name="T21" fmla="*/ 1224 h 1241"/>
                <a:gd name="T22" fmla="*/ 600 w 1425"/>
                <a:gd name="T23" fmla="*/ 1200 h 1241"/>
                <a:gd name="T24" fmla="*/ 664 w 1425"/>
                <a:gd name="T25" fmla="*/ 1112 h 1241"/>
                <a:gd name="T26" fmla="*/ 704 w 1425"/>
                <a:gd name="T27" fmla="*/ 1096 h 1241"/>
                <a:gd name="T28" fmla="*/ 736 w 1425"/>
                <a:gd name="T29" fmla="*/ 1096 h 1241"/>
                <a:gd name="T30" fmla="*/ 800 w 1425"/>
                <a:gd name="T31" fmla="*/ 1024 h 1241"/>
                <a:gd name="T32" fmla="*/ 864 w 1425"/>
                <a:gd name="T33" fmla="*/ 1008 h 1241"/>
                <a:gd name="T34" fmla="*/ 896 w 1425"/>
                <a:gd name="T35" fmla="*/ 920 h 1241"/>
                <a:gd name="T36" fmla="*/ 944 w 1425"/>
                <a:gd name="T37" fmla="*/ 912 h 1241"/>
                <a:gd name="T38" fmla="*/ 1008 w 1425"/>
                <a:gd name="T39" fmla="*/ 872 h 1241"/>
                <a:gd name="T40" fmla="*/ 1088 w 1425"/>
                <a:gd name="T41" fmla="*/ 824 h 1241"/>
                <a:gd name="T42" fmla="*/ 1128 w 1425"/>
                <a:gd name="T43" fmla="*/ 920 h 1241"/>
                <a:gd name="T44" fmla="*/ 1176 w 1425"/>
                <a:gd name="T45" fmla="*/ 888 h 1241"/>
                <a:gd name="T46" fmla="*/ 1176 w 1425"/>
                <a:gd name="T47" fmla="*/ 840 h 1241"/>
                <a:gd name="T48" fmla="*/ 1352 w 1425"/>
                <a:gd name="T49" fmla="*/ 784 h 1241"/>
                <a:gd name="T50" fmla="*/ 1376 w 1425"/>
                <a:gd name="T51" fmla="*/ 728 h 1241"/>
                <a:gd name="T52" fmla="*/ 1312 w 1425"/>
                <a:gd name="T53" fmla="*/ 672 h 1241"/>
                <a:gd name="T54" fmla="*/ 1264 w 1425"/>
                <a:gd name="T55" fmla="*/ 560 h 1241"/>
                <a:gd name="T56" fmla="*/ 1336 w 1425"/>
                <a:gd name="T57" fmla="*/ 560 h 1241"/>
                <a:gd name="T58" fmla="*/ 1352 w 1425"/>
                <a:gd name="T59" fmla="*/ 472 h 1241"/>
                <a:gd name="T60" fmla="*/ 1296 w 1425"/>
                <a:gd name="T61" fmla="*/ 432 h 1241"/>
                <a:gd name="T62" fmla="*/ 1392 w 1425"/>
                <a:gd name="T63" fmla="*/ 296 h 1241"/>
                <a:gd name="T64" fmla="*/ 1424 w 1425"/>
                <a:gd name="T65" fmla="*/ 128 h 1241"/>
                <a:gd name="T66" fmla="*/ 1344 w 1425"/>
                <a:gd name="T67" fmla="*/ 128 h 1241"/>
                <a:gd name="T68" fmla="*/ 1264 w 1425"/>
                <a:gd name="T69" fmla="*/ 72 h 1241"/>
                <a:gd name="T70" fmla="*/ 1192 w 1425"/>
                <a:gd name="T71" fmla="*/ 64 h 1241"/>
                <a:gd name="T72" fmla="*/ 1168 w 1425"/>
                <a:gd name="T73" fmla="*/ 0 h 1241"/>
                <a:gd name="T74" fmla="*/ 1160 w 1425"/>
                <a:gd name="T75" fmla="*/ 64 h 1241"/>
                <a:gd name="T76" fmla="*/ 1128 w 1425"/>
                <a:gd name="T77" fmla="*/ 168 h 1241"/>
                <a:gd name="T78" fmla="*/ 1120 w 1425"/>
                <a:gd name="T79" fmla="*/ 240 h 1241"/>
                <a:gd name="T80" fmla="*/ 992 w 1425"/>
                <a:gd name="T81" fmla="*/ 280 h 1241"/>
                <a:gd name="T82" fmla="*/ 992 w 1425"/>
                <a:gd name="T83" fmla="*/ 432 h 1241"/>
                <a:gd name="T84" fmla="*/ 1056 w 1425"/>
                <a:gd name="T85" fmla="*/ 416 h 1241"/>
                <a:gd name="T86" fmla="*/ 1136 w 1425"/>
                <a:gd name="T87" fmla="*/ 448 h 1241"/>
                <a:gd name="T88" fmla="*/ 1136 w 1425"/>
                <a:gd name="T89" fmla="*/ 504 h 1241"/>
                <a:gd name="T90" fmla="*/ 1040 w 1425"/>
                <a:gd name="T91" fmla="*/ 536 h 1241"/>
                <a:gd name="T92" fmla="*/ 992 w 1425"/>
                <a:gd name="T93" fmla="*/ 592 h 1241"/>
                <a:gd name="T94" fmla="*/ 864 w 1425"/>
                <a:gd name="T95" fmla="*/ 664 h 1241"/>
                <a:gd name="T96" fmla="*/ 760 w 1425"/>
                <a:gd name="T97" fmla="*/ 648 h 1241"/>
                <a:gd name="T98" fmla="*/ 768 w 1425"/>
                <a:gd name="T99" fmla="*/ 752 h 1241"/>
                <a:gd name="T100" fmla="*/ 640 w 1425"/>
                <a:gd name="T101" fmla="*/ 848 h 1241"/>
                <a:gd name="T102" fmla="*/ 456 w 1425"/>
                <a:gd name="T103" fmla="*/ 880 h 1241"/>
                <a:gd name="T104" fmla="*/ 352 w 1425"/>
                <a:gd name="T105" fmla="*/ 888 h 1241"/>
                <a:gd name="T106" fmla="*/ 248 w 1425"/>
                <a:gd name="T107" fmla="*/ 864 h 1241"/>
                <a:gd name="T108" fmla="*/ 96 w 1425"/>
                <a:gd name="T109" fmla="*/ 816 h 1241"/>
                <a:gd name="T110" fmla="*/ 0 w 1425"/>
                <a:gd name="T111" fmla="*/ 0 h 1241"/>
                <a:gd name="T112" fmla="*/ 1425 w 1425"/>
                <a:gd name="T113" fmla="*/ 1241 h 1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T110" t="T111" r="T112" b="T113"/>
              <a:pathLst>
                <a:path w="1425" h="1241">
                  <a:moveTo>
                    <a:pt x="0" y="784"/>
                  </a:moveTo>
                  <a:lnTo>
                    <a:pt x="16" y="848"/>
                  </a:lnTo>
                  <a:lnTo>
                    <a:pt x="16" y="896"/>
                  </a:lnTo>
                  <a:lnTo>
                    <a:pt x="40" y="928"/>
                  </a:lnTo>
                  <a:lnTo>
                    <a:pt x="48" y="968"/>
                  </a:lnTo>
                  <a:lnTo>
                    <a:pt x="64" y="968"/>
                  </a:lnTo>
                  <a:lnTo>
                    <a:pt x="64" y="944"/>
                  </a:lnTo>
                  <a:lnTo>
                    <a:pt x="136" y="952"/>
                  </a:lnTo>
                  <a:lnTo>
                    <a:pt x="136" y="976"/>
                  </a:lnTo>
                  <a:lnTo>
                    <a:pt x="136" y="992"/>
                  </a:lnTo>
                  <a:lnTo>
                    <a:pt x="112" y="1016"/>
                  </a:lnTo>
                  <a:lnTo>
                    <a:pt x="112" y="1032"/>
                  </a:lnTo>
                  <a:lnTo>
                    <a:pt x="160" y="1080"/>
                  </a:lnTo>
                  <a:lnTo>
                    <a:pt x="160" y="1104"/>
                  </a:lnTo>
                  <a:lnTo>
                    <a:pt x="216" y="1128"/>
                  </a:lnTo>
                  <a:lnTo>
                    <a:pt x="224" y="1120"/>
                  </a:lnTo>
                  <a:lnTo>
                    <a:pt x="216" y="1088"/>
                  </a:lnTo>
                  <a:lnTo>
                    <a:pt x="256" y="1096"/>
                  </a:lnTo>
                  <a:lnTo>
                    <a:pt x="264" y="1096"/>
                  </a:lnTo>
                  <a:lnTo>
                    <a:pt x="336" y="1088"/>
                  </a:lnTo>
                  <a:lnTo>
                    <a:pt x="352" y="1104"/>
                  </a:lnTo>
                  <a:lnTo>
                    <a:pt x="312" y="1144"/>
                  </a:lnTo>
                  <a:lnTo>
                    <a:pt x="296" y="1192"/>
                  </a:lnTo>
                  <a:lnTo>
                    <a:pt x="328" y="1240"/>
                  </a:lnTo>
                  <a:lnTo>
                    <a:pt x="376" y="1232"/>
                  </a:lnTo>
                  <a:lnTo>
                    <a:pt x="400" y="1208"/>
                  </a:lnTo>
                  <a:lnTo>
                    <a:pt x="424" y="1200"/>
                  </a:lnTo>
                  <a:lnTo>
                    <a:pt x="432" y="1136"/>
                  </a:lnTo>
                  <a:lnTo>
                    <a:pt x="488" y="1088"/>
                  </a:lnTo>
                  <a:lnTo>
                    <a:pt x="496" y="1112"/>
                  </a:lnTo>
                  <a:lnTo>
                    <a:pt x="480" y="1176"/>
                  </a:lnTo>
                  <a:lnTo>
                    <a:pt x="520" y="1192"/>
                  </a:lnTo>
                  <a:lnTo>
                    <a:pt x="560" y="1224"/>
                  </a:lnTo>
                  <a:lnTo>
                    <a:pt x="576" y="1224"/>
                  </a:lnTo>
                  <a:lnTo>
                    <a:pt x="592" y="1224"/>
                  </a:lnTo>
                  <a:lnTo>
                    <a:pt x="600" y="1200"/>
                  </a:lnTo>
                  <a:lnTo>
                    <a:pt x="616" y="1200"/>
                  </a:lnTo>
                  <a:lnTo>
                    <a:pt x="608" y="1168"/>
                  </a:lnTo>
                  <a:lnTo>
                    <a:pt x="664" y="1112"/>
                  </a:lnTo>
                  <a:lnTo>
                    <a:pt x="664" y="1096"/>
                  </a:lnTo>
                  <a:lnTo>
                    <a:pt x="696" y="1096"/>
                  </a:lnTo>
                  <a:lnTo>
                    <a:pt x="704" y="1096"/>
                  </a:lnTo>
                  <a:lnTo>
                    <a:pt x="712" y="1080"/>
                  </a:lnTo>
                  <a:lnTo>
                    <a:pt x="720" y="1080"/>
                  </a:lnTo>
                  <a:lnTo>
                    <a:pt x="736" y="1096"/>
                  </a:lnTo>
                  <a:lnTo>
                    <a:pt x="736" y="1072"/>
                  </a:lnTo>
                  <a:lnTo>
                    <a:pt x="760" y="1080"/>
                  </a:lnTo>
                  <a:lnTo>
                    <a:pt x="800" y="1024"/>
                  </a:lnTo>
                  <a:lnTo>
                    <a:pt x="832" y="1016"/>
                  </a:lnTo>
                  <a:lnTo>
                    <a:pt x="848" y="1000"/>
                  </a:lnTo>
                  <a:lnTo>
                    <a:pt x="864" y="1008"/>
                  </a:lnTo>
                  <a:lnTo>
                    <a:pt x="896" y="1000"/>
                  </a:lnTo>
                  <a:lnTo>
                    <a:pt x="872" y="928"/>
                  </a:lnTo>
                  <a:lnTo>
                    <a:pt x="896" y="920"/>
                  </a:lnTo>
                  <a:lnTo>
                    <a:pt x="896" y="888"/>
                  </a:lnTo>
                  <a:lnTo>
                    <a:pt x="928" y="872"/>
                  </a:lnTo>
                  <a:lnTo>
                    <a:pt x="944" y="912"/>
                  </a:lnTo>
                  <a:lnTo>
                    <a:pt x="984" y="888"/>
                  </a:lnTo>
                  <a:lnTo>
                    <a:pt x="1000" y="896"/>
                  </a:lnTo>
                  <a:lnTo>
                    <a:pt x="1008" y="872"/>
                  </a:lnTo>
                  <a:lnTo>
                    <a:pt x="1040" y="880"/>
                  </a:lnTo>
                  <a:lnTo>
                    <a:pt x="1040" y="840"/>
                  </a:lnTo>
                  <a:lnTo>
                    <a:pt x="1088" y="824"/>
                  </a:lnTo>
                  <a:lnTo>
                    <a:pt x="1112" y="864"/>
                  </a:lnTo>
                  <a:lnTo>
                    <a:pt x="1112" y="904"/>
                  </a:lnTo>
                  <a:lnTo>
                    <a:pt x="1128" y="920"/>
                  </a:lnTo>
                  <a:lnTo>
                    <a:pt x="1160" y="912"/>
                  </a:lnTo>
                  <a:lnTo>
                    <a:pt x="1176" y="912"/>
                  </a:lnTo>
                  <a:lnTo>
                    <a:pt x="1176" y="888"/>
                  </a:lnTo>
                  <a:lnTo>
                    <a:pt x="1176" y="864"/>
                  </a:lnTo>
                  <a:lnTo>
                    <a:pt x="1160" y="832"/>
                  </a:lnTo>
                  <a:lnTo>
                    <a:pt x="1176" y="840"/>
                  </a:lnTo>
                  <a:lnTo>
                    <a:pt x="1200" y="872"/>
                  </a:lnTo>
                  <a:lnTo>
                    <a:pt x="1328" y="776"/>
                  </a:lnTo>
                  <a:lnTo>
                    <a:pt x="1352" y="784"/>
                  </a:lnTo>
                  <a:lnTo>
                    <a:pt x="1392" y="752"/>
                  </a:lnTo>
                  <a:lnTo>
                    <a:pt x="1392" y="728"/>
                  </a:lnTo>
                  <a:lnTo>
                    <a:pt x="1376" y="728"/>
                  </a:lnTo>
                  <a:lnTo>
                    <a:pt x="1376" y="688"/>
                  </a:lnTo>
                  <a:lnTo>
                    <a:pt x="1352" y="640"/>
                  </a:lnTo>
                  <a:lnTo>
                    <a:pt x="1312" y="672"/>
                  </a:lnTo>
                  <a:lnTo>
                    <a:pt x="1288" y="616"/>
                  </a:lnTo>
                  <a:lnTo>
                    <a:pt x="1296" y="592"/>
                  </a:lnTo>
                  <a:lnTo>
                    <a:pt x="1264" y="560"/>
                  </a:lnTo>
                  <a:lnTo>
                    <a:pt x="1272" y="536"/>
                  </a:lnTo>
                  <a:lnTo>
                    <a:pt x="1312" y="560"/>
                  </a:lnTo>
                  <a:lnTo>
                    <a:pt x="1336" y="560"/>
                  </a:lnTo>
                  <a:lnTo>
                    <a:pt x="1328" y="512"/>
                  </a:lnTo>
                  <a:lnTo>
                    <a:pt x="1328" y="488"/>
                  </a:lnTo>
                  <a:lnTo>
                    <a:pt x="1352" y="472"/>
                  </a:lnTo>
                  <a:lnTo>
                    <a:pt x="1352" y="456"/>
                  </a:lnTo>
                  <a:lnTo>
                    <a:pt x="1320" y="472"/>
                  </a:lnTo>
                  <a:lnTo>
                    <a:pt x="1296" y="432"/>
                  </a:lnTo>
                  <a:lnTo>
                    <a:pt x="1368" y="336"/>
                  </a:lnTo>
                  <a:lnTo>
                    <a:pt x="1384" y="360"/>
                  </a:lnTo>
                  <a:lnTo>
                    <a:pt x="1392" y="296"/>
                  </a:lnTo>
                  <a:lnTo>
                    <a:pt x="1408" y="272"/>
                  </a:lnTo>
                  <a:lnTo>
                    <a:pt x="1400" y="216"/>
                  </a:lnTo>
                  <a:lnTo>
                    <a:pt x="1424" y="128"/>
                  </a:lnTo>
                  <a:lnTo>
                    <a:pt x="1384" y="88"/>
                  </a:lnTo>
                  <a:lnTo>
                    <a:pt x="1360" y="120"/>
                  </a:lnTo>
                  <a:lnTo>
                    <a:pt x="1344" y="128"/>
                  </a:lnTo>
                  <a:lnTo>
                    <a:pt x="1296" y="144"/>
                  </a:lnTo>
                  <a:lnTo>
                    <a:pt x="1280" y="120"/>
                  </a:lnTo>
                  <a:lnTo>
                    <a:pt x="1264" y="72"/>
                  </a:lnTo>
                  <a:lnTo>
                    <a:pt x="1240" y="56"/>
                  </a:lnTo>
                  <a:lnTo>
                    <a:pt x="1224" y="72"/>
                  </a:lnTo>
                  <a:lnTo>
                    <a:pt x="1192" y="64"/>
                  </a:lnTo>
                  <a:lnTo>
                    <a:pt x="1208" y="32"/>
                  </a:lnTo>
                  <a:lnTo>
                    <a:pt x="1200" y="0"/>
                  </a:lnTo>
                  <a:lnTo>
                    <a:pt x="1168" y="0"/>
                  </a:lnTo>
                  <a:lnTo>
                    <a:pt x="1128" y="40"/>
                  </a:lnTo>
                  <a:lnTo>
                    <a:pt x="1128" y="56"/>
                  </a:lnTo>
                  <a:lnTo>
                    <a:pt x="1160" y="64"/>
                  </a:lnTo>
                  <a:lnTo>
                    <a:pt x="1168" y="88"/>
                  </a:lnTo>
                  <a:lnTo>
                    <a:pt x="1136" y="136"/>
                  </a:lnTo>
                  <a:lnTo>
                    <a:pt x="1128" y="168"/>
                  </a:lnTo>
                  <a:lnTo>
                    <a:pt x="1112" y="200"/>
                  </a:lnTo>
                  <a:lnTo>
                    <a:pt x="1112" y="232"/>
                  </a:lnTo>
                  <a:lnTo>
                    <a:pt x="1120" y="240"/>
                  </a:lnTo>
                  <a:lnTo>
                    <a:pt x="1056" y="288"/>
                  </a:lnTo>
                  <a:lnTo>
                    <a:pt x="1016" y="280"/>
                  </a:lnTo>
                  <a:lnTo>
                    <a:pt x="992" y="280"/>
                  </a:lnTo>
                  <a:lnTo>
                    <a:pt x="944" y="416"/>
                  </a:lnTo>
                  <a:lnTo>
                    <a:pt x="960" y="432"/>
                  </a:lnTo>
                  <a:lnTo>
                    <a:pt x="992" y="432"/>
                  </a:lnTo>
                  <a:lnTo>
                    <a:pt x="1032" y="432"/>
                  </a:lnTo>
                  <a:lnTo>
                    <a:pt x="1040" y="440"/>
                  </a:lnTo>
                  <a:lnTo>
                    <a:pt x="1056" y="416"/>
                  </a:lnTo>
                  <a:lnTo>
                    <a:pt x="1080" y="408"/>
                  </a:lnTo>
                  <a:lnTo>
                    <a:pt x="1104" y="416"/>
                  </a:lnTo>
                  <a:lnTo>
                    <a:pt x="1136" y="448"/>
                  </a:lnTo>
                  <a:lnTo>
                    <a:pt x="1160" y="480"/>
                  </a:lnTo>
                  <a:lnTo>
                    <a:pt x="1160" y="512"/>
                  </a:lnTo>
                  <a:lnTo>
                    <a:pt x="1136" y="504"/>
                  </a:lnTo>
                  <a:lnTo>
                    <a:pt x="1088" y="520"/>
                  </a:lnTo>
                  <a:lnTo>
                    <a:pt x="1048" y="520"/>
                  </a:lnTo>
                  <a:lnTo>
                    <a:pt x="1040" y="536"/>
                  </a:lnTo>
                  <a:lnTo>
                    <a:pt x="1016" y="536"/>
                  </a:lnTo>
                  <a:lnTo>
                    <a:pt x="992" y="560"/>
                  </a:lnTo>
                  <a:lnTo>
                    <a:pt x="992" y="592"/>
                  </a:lnTo>
                  <a:lnTo>
                    <a:pt x="968" y="608"/>
                  </a:lnTo>
                  <a:lnTo>
                    <a:pt x="912" y="616"/>
                  </a:lnTo>
                  <a:lnTo>
                    <a:pt x="864" y="664"/>
                  </a:lnTo>
                  <a:lnTo>
                    <a:pt x="800" y="664"/>
                  </a:lnTo>
                  <a:lnTo>
                    <a:pt x="784" y="648"/>
                  </a:lnTo>
                  <a:lnTo>
                    <a:pt x="760" y="648"/>
                  </a:lnTo>
                  <a:lnTo>
                    <a:pt x="752" y="680"/>
                  </a:lnTo>
                  <a:lnTo>
                    <a:pt x="728" y="704"/>
                  </a:lnTo>
                  <a:lnTo>
                    <a:pt x="768" y="752"/>
                  </a:lnTo>
                  <a:lnTo>
                    <a:pt x="720" y="784"/>
                  </a:lnTo>
                  <a:lnTo>
                    <a:pt x="696" y="824"/>
                  </a:lnTo>
                  <a:lnTo>
                    <a:pt x="640" y="848"/>
                  </a:lnTo>
                  <a:lnTo>
                    <a:pt x="560" y="856"/>
                  </a:lnTo>
                  <a:lnTo>
                    <a:pt x="496" y="864"/>
                  </a:lnTo>
                  <a:lnTo>
                    <a:pt x="456" y="880"/>
                  </a:lnTo>
                  <a:lnTo>
                    <a:pt x="408" y="912"/>
                  </a:lnTo>
                  <a:lnTo>
                    <a:pt x="384" y="912"/>
                  </a:lnTo>
                  <a:lnTo>
                    <a:pt x="352" y="888"/>
                  </a:lnTo>
                  <a:lnTo>
                    <a:pt x="312" y="888"/>
                  </a:lnTo>
                  <a:lnTo>
                    <a:pt x="280" y="864"/>
                  </a:lnTo>
                  <a:lnTo>
                    <a:pt x="248" y="864"/>
                  </a:lnTo>
                  <a:lnTo>
                    <a:pt x="224" y="824"/>
                  </a:lnTo>
                  <a:lnTo>
                    <a:pt x="160" y="816"/>
                  </a:lnTo>
                  <a:lnTo>
                    <a:pt x="96" y="816"/>
                  </a:lnTo>
                  <a:lnTo>
                    <a:pt x="64" y="792"/>
                  </a:lnTo>
                  <a:lnTo>
                    <a:pt x="0" y="784"/>
                  </a:ln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27" name="Freeform 36"/>
            <p:cNvSpPr/>
            <p:nvPr/>
          </p:nvSpPr>
          <p:spPr bwMode="auto">
            <a:xfrm>
              <a:off x="576263" y="2179638"/>
              <a:ext cx="1897062" cy="1419225"/>
            </a:xfrm>
            <a:custGeom>
              <a:avLst/>
              <a:gdLst>
                <a:gd name="T0" fmla="*/ 1256 w 1273"/>
                <a:gd name="T1" fmla="*/ 576 h 1033"/>
                <a:gd name="T2" fmla="*/ 1240 w 1273"/>
                <a:gd name="T3" fmla="*/ 632 h 1033"/>
                <a:gd name="T4" fmla="*/ 1176 w 1273"/>
                <a:gd name="T5" fmla="*/ 632 h 1033"/>
                <a:gd name="T6" fmla="*/ 1152 w 1273"/>
                <a:gd name="T7" fmla="*/ 664 h 1033"/>
                <a:gd name="T8" fmla="*/ 1080 w 1273"/>
                <a:gd name="T9" fmla="*/ 720 h 1033"/>
                <a:gd name="T10" fmla="*/ 1048 w 1273"/>
                <a:gd name="T11" fmla="*/ 728 h 1033"/>
                <a:gd name="T12" fmla="*/ 936 w 1273"/>
                <a:gd name="T13" fmla="*/ 824 h 1033"/>
                <a:gd name="T14" fmla="*/ 880 w 1273"/>
                <a:gd name="T15" fmla="*/ 880 h 1033"/>
                <a:gd name="T16" fmla="*/ 920 w 1273"/>
                <a:gd name="T17" fmla="*/ 944 h 1033"/>
                <a:gd name="T18" fmla="*/ 888 w 1273"/>
                <a:gd name="T19" fmla="*/ 992 h 1033"/>
                <a:gd name="T20" fmla="*/ 896 w 1273"/>
                <a:gd name="T21" fmla="*/ 1032 h 1033"/>
                <a:gd name="T22" fmla="*/ 840 w 1273"/>
                <a:gd name="T23" fmla="*/ 1016 h 1033"/>
                <a:gd name="T24" fmla="*/ 808 w 1273"/>
                <a:gd name="T25" fmla="*/ 1000 h 1033"/>
                <a:gd name="T26" fmla="*/ 736 w 1273"/>
                <a:gd name="T27" fmla="*/ 960 h 1033"/>
                <a:gd name="T28" fmla="*/ 600 w 1273"/>
                <a:gd name="T29" fmla="*/ 984 h 1033"/>
                <a:gd name="T30" fmla="*/ 512 w 1273"/>
                <a:gd name="T31" fmla="*/ 992 h 1033"/>
                <a:gd name="T32" fmla="*/ 432 w 1273"/>
                <a:gd name="T33" fmla="*/ 952 h 1033"/>
                <a:gd name="T34" fmla="*/ 368 w 1273"/>
                <a:gd name="T35" fmla="*/ 960 h 1033"/>
                <a:gd name="T36" fmla="*/ 272 w 1273"/>
                <a:gd name="T37" fmla="*/ 928 h 1033"/>
                <a:gd name="T38" fmla="*/ 216 w 1273"/>
                <a:gd name="T39" fmla="*/ 984 h 1033"/>
                <a:gd name="T40" fmla="*/ 152 w 1273"/>
                <a:gd name="T41" fmla="*/ 944 h 1033"/>
                <a:gd name="T42" fmla="*/ 104 w 1273"/>
                <a:gd name="T43" fmla="*/ 864 h 1033"/>
                <a:gd name="T44" fmla="*/ 56 w 1273"/>
                <a:gd name="T45" fmla="*/ 800 h 1033"/>
                <a:gd name="T46" fmla="*/ 64 w 1273"/>
                <a:gd name="T47" fmla="*/ 776 h 1033"/>
                <a:gd name="T48" fmla="*/ 40 w 1273"/>
                <a:gd name="T49" fmla="*/ 712 h 1033"/>
                <a:gd name="T50" fmla="*/ 0 w 1273"/>
                <a:gd name="T51" fmla="*/ 688 h 1033"/>
                <a:gd name="T52" fmla="*/ 32 w 1273"/>
                <a:gd name="T53" fmla="*/ 688 h 1033"/>
                <a:gd name="T54" fmla="*/ 32 w 1273"/>
                <a:gd name="T55" fmla="*/ 616 h 1033"/>
                <a:gd name="T56" fmla="*/ 24 w 1273"/>
                <a:gd name="T57" fmla="*/ 568 h 1033"/>
                <a:gd name="T58" fmla="*/ 0 w 1273"/>
                <a:gd name="T59" fmla="*/ 520 h 1033"/>
                <a:gd name="T60" fmla="*/ 88 w 1273"/>
                <a:gd name="T61" fmla="*/ 464 h 1033"/>
                <a:gd name="T62" fmla="*/ 136 w 1273"/>
                <a:gd name="T63" fmla="*/ 456 h 1033"/>
                <a:gd name="T64" fmla="*/ 152 w 1273"/>
                <a:gd name="T65" fmla="*/ 480 h 1033"/>
                <a:gd name="T66" fmla="*/ 200 w 1273"/>
                <a:gd name="T67" fmla="*/ 480 h 1033"/>
                <a:gd name="T68" fmla="*/ 304 w 1273"/>
                <a:gd name="T69" fmla="*/ 456 h 1033"/>
                <a:gd name="T70" fmla="*/ 416 w 1273"/>
                <a:gd name="T71" fmla="*/ 424 h 1033"/>
                <a:gd name="T72" fmla="*/ 424 w 1273"/>
                <a:gd name="T73" fmla="*/ 376 h 1033"/>
                <a:gd name="T74" fmla="*/ 472 w 1273"/>
                <a:gd name="T75" fmla="*/ 232 h 1033"/>
                <a:gd name="T76" fmla="*/ 456 w 1273"/>
                <a:gd name="T77" fmla="*/ 200 h 1033"/>
                <a:gd name="T78" fmla="*/ 592 w 1273"/>
                <a:gd name="T79" fmla="*/ 224 h 1033"/>
                <a:gd name="T80" fmla="*/ 664 w 1273"/>
                <a:gd name="T81" fmla="*/ 96 h 1033"/>
                <a:gd name="T82" fmla="*/ 784 w 1273"/>
                <a:gd name="T83" fmla="*/ 128 h 1033"/>
                <a:gd name="T84" fmla="*/ 784 w 1273"/>
                <a:gd name="T85" fmla="*/ 80 h 1033"/>
                <a:gd name="T86" fmla="*/ 840 w 1273"/>
                <a:gd name="T87" fmla="*/ 40 h 1033"/>
                <a:gd name="T88" fmla="*/ 880 w 1273"/>
                <a:gd name="T89" fmla="*/ 0 h 1033"/>
                <a:gd name="T90" fmla="*/ 928 w 1273"/>
                <a:gd name="T91" fmla="*/ 16 h 1033"/>
                <a:gd name="T92" fmla="*/ 928 w 1273"/>
                <a:gd name="T93" fmla="*/ 48 h 1033"/>
                <a:gd name="T94" fmla="*/ 960 w 1273"/>
                <a:gd name="T95" fmla="*/ 112 h 1033"/>
                <a:gd name="T96" fmla="*/ 1024 w 1273"/>
                <a:gd name="T97" fmla="*/ 144 h 1033"/>
                <a:gd name="T98" fmla="*/ 1040 w 1273"/>
                <a:gd name="T99" fmla="*/ 248 h 1033"/>
                <a:gd name="T100" fmla="*/ 1016 w 1273"/>
                <a:gd name="T101" fmla="*/ 336 h 1033"/>
                <a:gd name="T102" fmla="*/ 1112 w 1273"/>
                <a:gd name="T103" fmla="*/ 368 h 1033"/>
                <a:gd name="T104" fmla="*/ 1208 w 1273"/>
                <a:gd name="T105" fmla="*/ 440 h 1033"/>
                <a:gd name="T106" fmla="*/ 1232 w 1273"/>
                <a:gd name="T107" fmla="*/ 480 h 1033"/>
                <a:gd name="T108" fmla="*/ 1272 w 1273"/>
                <a:gd name="T109" fmla="*/ 568 h 1033"/>
                <a:gd name="T110" fmla="*/ 0 w 1273"/>
                <a:gd name="T111" fmla="*/ 0 h 1033"/>
                <a:gd name="T112" fmla="*/ 1273 w 1273"/>
                <a:gd name="T113" fmla="*/ 1033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T110" t="T111" r="T112" b="T113"/>
              <a:pathLst>
                <a:path w="1273" h="1033">
                  <a:moveTo>
                    <a:pt x="1272" y="568"/>
                  </a:moveTo>
                  <a:lnTo>
                    <a:pt x="1256" y="576"/>
                  </a:lnTo>
                  <a:lnTo>
                    <a:pt x="1256" y="600"/>
                  </a:lnTo>
                  <a:lnTo>
                    <a:pt x="1240" y="632"/>
                  </a:lnTo>
                  <a:lnTo>
                    <a:pt x="1208" y="632"/>
                  </a:lnTo>
                  <a:lnTo>
                    <a:pt x="1176" y="632"/>
                  </a:lnTo>
                  <a:lnTo>
                    <a:pt x="1176" y="648"/>
                  </a:lnTo>
                  <a:lnTo>
                    <a:pt x="1152" y="664"/>
                  </a:lnTo>
                  <a:lnTo>
                    <a:pt x="1112" y="680"/>
                  </a:lnTo>
                  <a:lnTo>
                    <a:pt x="1080" y="720"/>
                  </a:lnTo>
                  <a:lnTo>
                    <a:pt x="1064" y="712"/>
                  </a:lnTo>
                  <a:lnTo>
                    <a:pt x="1048" y="728"/>
                  </a:lnTo>
                  <a:lnTo>
                    <a:pt x="1040" y="816"/>
                  </a:lnTo>
                  <a:lnTo>
                    <a:pt x="936" y="824"/>
                  </a:lnTo>
                  <a:lnTo>
                    <a:pt x="888" y="840"/>
                  </a:lnTo>
                  <a:lnTo>
                    <a:pt x="880" y="880"/>
                  </a:lnTo>
                  <a:lnTo>
                    <a:pt x="920" y="928"/>
                  </a:lnTo>
                  <a:lnTo>
                    <a:pt x="920" y="944"/>
                  </a:lnTo>
                  <a:lnTo>
                    <a:pt x="888" y="968"/>
                  </a:lnTo>
                  <a:lnTo>
                    <a:pt x="888" y="992"/>
                  </a:lnTo>
                  <a:lnTo>
                    <a:pt x="896" y="1000"/>
                  </a:lnTo>
                  <a:lnTo>
                    <a:pt x="896" y="1032"/>
                  </a:lnTo>
                  <a:lnTo>
                    <a:pt x="840" y="1008"/>
                  </a:lnTo>
                  <a:lnTo>
                    <a:pt x="840" y="1016"/>
                  </a:lnTo>
                  <a:lnTo>
                    <a:pt x="816" y="1016"/>
                  </a:lnTo>
                  <a:lnTo>
                    <a:pt x="808" y="1000"/>
                  </a:lnTo>
                  <a:lnTo>
                    <a:pt x="760" y="976"/>
                  </a:lnTo>
                  <a:lnTo>
                    <a:pt x="736" y="960"/>
                  </a:lnTo>
                  <a:lnTo>
                    <a:pt x="624" y="968"/>
                  </a:lnTo>
                  <a:lnTo>
                    <a:pt x="600" y="984"/>
                  </a:lnTo>
                  <a:lnTo>
                    <a:pt x="528" y="984"/>
                  </a:lnTo>
                  <a:lnTo>
                    <a:pt x="512" y="992"/>
                  </a:lnTo>
                  <a:lnTo>
                    <a:pt x="440" y="984"/>
                  </a:lnTo>
                  <a:lnTo>
                    <a:pt x="432" y="952"/>
                  </a:lnTo>
                  <a:lnTo>
                    <a:pt x="384" y="944"/>
                  </a:lnTo>
                  <a:lnTo>
                    <a:pt x="368" y="960"/>
                  </a:lnTo>
                  <a:lnTo>
                    <a:pt x="296" y="928"/>
                  </a:lnTo>
                  <a:lnTo>
                    <a:pt x="272" y="928"/>
                  </a:lnTo>
                  <a:lnTo>
                    <a:pt x="248" y="968"/>
                  </a:lnTo>
                  <a:lnTo>
                    <a:pt x="216" y="984"/>
                  </a:lnTo>
                  <a:lnTo>
                    <a:pt x="176" y="976"/>
                  </a:lnTo>
                  <a:lnTo>
                    <a:pt x="152" y="944"/>
                  </a:lnTo>
                  <a:lnTo>
                    <a:pt x="152" y="872"/>
                  </a:lnTo>
                  <a:lnTo>
                    <a:pt x="104" y="864"/>
                  </a:lnTo>
                  <a:lnTo>
                    <a:pt x="72" y="816"/>
                  </a:lnTo>
                  <a:lnTo>
                    <a:pt x="56" y="800"/>
                  </a:lnTo>
                  <a:lnTo>
                    <a:pt x="48" y="784"/>
                  </a:lnTo>
                  <a:lnTo>
                    <a:pt x="64" y="776"/>
                  </a:lnTo>
                  <a:lnTo>
                    <a:pt x="64" y="752"/>
                  </a:lnTo>
                  <a:lnTo>
                    <a:pt x="40" y="712"/>
                  </a:lnTo>
                  <a:lnTo>
                    <a:pt x="16" y="704"/>
                  </a:lnTo>
                  <a:lnTo>
                    <a:pt x="0" y="688"/>
                  </a:lnTo>
                  <a:lnTo>
                    <a:pt x="16" y="680"/>
                  </a:lnTo>
                  <a:lnTo>
                    <a:pt x="32" y="688"/>
                  </a:lnTo>
                  <a:lnTo>
                    <a:pt x="40" y="672"/>
                  </a:lnTo>
                  <a:lnTo>
                    <a:pt x="32" y="616"/>
                  </a:lnTo>
                  <a:lnTo>
                    <a:pt x="48" y="592"/>
                  </a:lnTo>
                  <a:lnTo>
                    <a:pt x="24" y="568"/>
                  </a:lnTo>
                  <a:lnTo>
                    <a:pt x="0" y="568"/>
                  </a:lnTo>
                  <a:lnTo>
                    <a:pt x="0" y="520"/>
                  </a:lnTo>
                  <a:lnTo>
                    <a:pt x="48" y="464"/>
                  </a:lnTo>
                  <a:lnTo>
                    <a:pt x="88" y="464"/>
                  </a:lnTo>
                  <a:lnTo>
                    <a:pt x="112" y="448"/>
                  </a:lnTo>
                  <a:lnTo>
                    <a:pt x="136" y="456"/>
                  </a:lnTo>
                  <a:lnTo>
                    <a:pt x="144" y="448"/>
                  </a:lnTo>
                  <a:lnTo>
                    <a:pt x="152" y="480"/>
                  </a:lnTo>
                  <a:lnTo>
                    <a:pt x="168" y="472"/>
                  </a:lnTo>
                  <a:lnTo>
                    <a:pt x="200" y="480"/>
                  </a:lnTo>
                  <a:lnTo>
                    <a:pt x="208" y="456"/>
                  </a:lnTo>
                  <a:lnTo>
                    <a:pt x="304" y="456"/>
                  </a:lnTo>
                  <a:lnTo>
                    <a:pt x="320" y="432"/>
                  </a:lnTo>
                  <a:lnTo>
                    <a:pt x="416" y="424"/>
                  </a:lnTo>
                  <a:lnTo>
                    <a:pt x="424" y="408"/>
                  </a:lnTo>
                  <a:lnTo>
                    <a:pt x="424" y="376"/>
                  </a:lnTo>
                  <a:lnTo>
                    <a:pt x="464" y="352"/>
                  </a:lnTo>
                  <a:lnTo>
                    <a:pt x="472" y="232"/>
                  </a:lnTo>
                  <a:lnTo>
                    <a:pt x="456" y="224"/>
                  </a:lnTo>
                  <a:lnTo>
                    <a:pt x="456" y="200"/>
                  </a:lnTo>
                  <a:lnTo>
                    <a:pt x="576" y="208"/>
                  </a:lnTo>
                  <a:lnTo>
                    <a:pt x="592" y="224"/>
                  </a:lnTo>
                  <a:lnTo>
                    <a:pt x="608" y="176"/>
                  </a:lnTo>
                  <a:lnTo>
                    <a:pt x="664" y="96"/>
                  </a:lnTo>
                  <a:lnTo>
                    <a:pt x="744" y="136"/>
                  </a:lnTo>
                  <a:lnTo>
                    <a:pt x="784" y="128"/>
                  </a:lnTo>
                  <a:lnTo>
                    <a:pt x="792" y="104"/>
                  </a:lnTo>
                  <a:lnTo>
                    <a:pt x="784" y="80"/>
                  </a:lnTo>
                  <a:lnTo>
                    <a:pt x="816" y="48"/>
                  </a:lnTo>
                  <a:lnTo>
                    <a:pt x="840" y="40"/>
                  </a:lnTo>
                  <a:lnTo>
                    <a:pt x="872" y="24"/>
                  </a:lnTo>
                  <a:lnTo>
                    <a:pt x="880" y="0"/>
                  </a:lnTo>
                  <a:lnTo>
                    <a:pt x="928" y="8"/>
                  </a:lnTo>
                  <a:lnTo>
                    <a:pt x="928" y="16"/>
                  </a:lnTo>
                  <a:lnTo>
                    <a:pt x="912" y="32"/>
                  </a:lnTo>
                  <a:lnTo>
                    <a:pt x="928" y="48"/>
                  </a:lnTo>
                  <a:lnTo>
                    <a:pt x="936" y="72"/>
                  </a:lnTo>
                  <a:lnTo>
                    <a:pt x="960" y="112"/>
                  </a:lnTo>
                  <a:lnTo>
                    <a:pt x="984" y="120"/>
                  </a:lnTo>
                  <a:lnTo>
                    <a:pt x="1024" y="144"/>
                  </a:lnTo>
                  <a:lnTo>
                    <a:pt x="1024" y="200"/>
                  </a:lnTo>
                  <a:lnTo>
                    <a:pt x="1040" y="248"/>
                  </a:lnTo>
                  <a:lnTo>
                    <a:pt x="1008" y="304"/>
                  </a:lnTo>
                  <a:lnTo>
                    <a:pt x="1016" y="336"/>
                  </a:lnTo>
                  <a:lnTo>
                    <a:pt x="1048" y="360"/>
                  </a:lnTo>
                  <a:lnTo>
                    <a:pt x="1112" y="368"/>
                  </a:lnTo>
                  <a:lnTo>
                    <a:pt x="1160" y="392"/>
                  </a:lnTo>
                  <a:lnTo>
                    <a:pt x="1208" y="440"/>
                  </a:lnTo>
                  <a:lnTo>
                    <a:pt x="1232" y="440"/>
                  </a:lnTo>
                  <a:lnTo>
                    <a:pt x="1232" y="480"/>
                  </a:lnTo>
                  <a:lnTo>
                    <a:pt x="1248" y="520"/>
                  </a:lnTo>
                  <a:lnTo>
                    <a:pt x="1272" y="568"/>
                  </a:lnTo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28" name="Freeform 37"/>
            <p:cNvSpPr/>
            <p:nvPr/>
          </p:nvSpPr>
          <p:spPr bwMode="auto">
            <a:xfrm>
              <a:off x="4524375" y="4784725"/>
              <a:ext cx="190500" cy="355600"/>
            </a:xfrm>
            <a:custGeom>
              <a:avLst/>
              <a:gdLst>
                <a:gd name="T0" fmla="*/ 24 w 129"/>
                <a:gd name="T1" fmla="*/ 232 h 257"/>
                <a:gd name="T2" fmla="*/ 32 w 129"/>
                <a:gd name="T3" fmla="*/ 248 h 257"/>
                <a:gd name="T4" fmla="*/ 56 w 129"/>
                <a:gd name="T5" fmla="*/ 256 h 257"/>
                <a:gd name="T6" fmla="*/ 64 w 129"/>
                <a:gd name="T7" fmla="*/ 224 h 257"/>
                <a:gd name="T8" fmla="*/ 104 w 129"/>
                <a:gd name="T9" fmla="*/ 184 h 257"/>
                <a:gd name="T10" fmla="*/ 104 w 129"/>
                <a:gd name="T11" fmla="*/ 128 h 257"/>
                <a:gd name="T12" fmla="*/ 120 w 129"/>
                <a:gd name="T13" fmla="*/ 96 h 257"/>
                <a:gd name="T14" fmla="*/ 128 w 129"/>
                <a:gd name="T15" fmla="*/ 72 h 257"/>
                <a:gd name="T16" fmla="*/ 112 w 129"/>
                <a:gd name="T17" fmla="*/ 56 h 257"/>
                <a:gd name="T18" fmla="*/ 104 w 129"/>
                <a:gd name="T19" fmla="*/ 0 h 257"/>
                <a:gd name="T20" fmla="*/ 64 w 129"/>
                <a:gd name="T21" fmla="*/ 24 h 257"/>
                <a:gd name="T22" fmla="*/ 48 w 129"/>
                <a:gd name="T23" fmla="*/ 24 h 257"/>
                <a:gd name="T24" fmla="*/ 56 w 129"/>
                <a:gd name="T25" fmla="*/ 40 h 257"/>
                <a:gd name="T26" fmla="*/ 24 w 129"/>
                <a:gd name="T27" fmla="*/ 72 h 257"/>
                <a:gd name="T28" fmla="*/ 24 w 129"/>
                <a:gd name="T29" fmla="*/ 112 h 257"/>
                <a:gd name="T30" fmla="*/ 0 w 129"/>
                <a:gd name="T31" fmla="*/ 136 h 257"/>
                <a:gd name="T32" fmla="*/ 8 w 129"/>
                <a:gd name="T33" fmla="*/ 168 h 257"/>
                <a:gd name="T34" fmla="*/ 16 w 129"/>
                <a:gd name="T35" fmla="*/ 224 h 257"/>
                <a:gd name="T36" fmla="*/ 24 w 129"/>
                <a:gd name="T37" fmla="*/ 232 h 257"/>
                <a:gd name="T38" fmla="*/ 0 w 129"/>
                <a:gd name="T39" fmla="*/ 0 h 257"/>
                <a:gd name="T40" fmla="*/ 129 w 129"/>
                <a:gd name="T4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T38" t="T39" r="T40" b="T41"/>
              <a:pathLst>
                <a:path w="129" h="257">
                  <a:moveTo>
                    <a:pt x="24" y="232"/>
                  </a:moveTo>
                  <a:lnTo>
                    <a:pt x="32" y="248"/>
                  </a:lnTo>
                  <a:lnTo>
                    <a:pt x="56" y="256"/>
                  </a:lnTo>
                  <a:lnTo>
                    <a:pt x="64" y="224"/>
                  </a:lnTo>
                  <a:lnTo>
                    <a:pt x="104" y="184"/>
                  </a:lnTo>
                  <a:lnTo>
                    <a:pt x="104" y="128"/>
                  </a:lnTo>
                  <a:lnTo>
                    <a:pt x="120" y="96"/>
                  </a:lnTo>
                  <a:lnTo>
                    <a:pt x="128" y="72"/>
                  </a:lnTo>
                  <a:lnTo>
                    <a:pt x="112" y="56"/>
                  </a:lnTo>
                  <a:lnTo>
                    <a:pt x="104" y="0"/>
                  </a:lnTo>
                  <a:lnTo>
                    <a:pt x="64" y="24"/>
                  </a:lnTo>
                  <a:lnTo>
                    <a:pt x="48" y="24"/>
                  </a:lnTo>
                  <a:lnTo>
                    <a:pt x="56" y="40"/>
                  </a:lnTo>
                  <a:lnTo>
                    <a:pt x="24" y="72"/>
                  </a:lnTo>
                  <a:lnTo>
                    <a:pt x="24" y="112"/>
                  </a:lnTo>
                  <a:lnTo>
                    <a:pt x="0" y="136"/>
                  </a:lnTo>
                  <a:lnTo>
                    <a:pt x="8" y="168"/>
                  </a:lnTo>
                  <a:lnTo>
                    <a:pt x="16" y="224"/>
                  </a:lnTo>
                  <a:lnTo>
                    <a:pt x="24" y="232"/>
                  </a:lnTo>
                </a:path>
              </a:pathLst>
            </a:custGeom>
            <a:solidFill>
              <a:srgbClr val="7F7F7F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</p:grpSp>
      <p:sp>
        <p:nvSpPr>
          <p:cNvPr id="129" name="矩形 128"/>
          <p:cNvSpPr/>
          <p:nvPr/>
        </p:nvSpPr>
        <p:spPr>
          <a:xfrm>
            <a:off x="7809719" y="1785926"/>
            <a:ext cx="3034527" cy="400109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152400" dist="63500" dir="2700000" sx="101000" sy="101000" algn="tl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r>
              <a:rPr lang="zh-CN" altLang="en-US" sz="2400" b="1" dirty="0">
                <a:latin typeface="Arial" panose="020B0604020202020204" pitchFamily="34" charset="0"/>
                <a:ea typeface="微软雅黑" panose="020B0503020204020204" pitchFamily="34" charset="-122"/>
              </a:rPr>
              <a:t>华南</a:t>
            </a:r>
          </a:p>
        </p:txBody>
      </p:sp>
      <p:sp>
        <p:nvSpPr>
          <p:cNvPr id="130" name="矩形 129"/>
          <p:cNvSpPr/>
          <p:nvPr/>
        </p:nvSpPr>
        <p:spPr>
          <a:xfrm>
            <a:off x="7809719" y="2636203"/>
            <a:ext cx="2063566" cy="389697"/>
          </a:xfrm>
          <a:prstGeom prst="rect">
            <a:avLst/>
          </a:prstGeom>
          <a:solidFill>
            <a:srgbClr val="7030A0"/>
          </a:solidFill>
          <a:ln>
            <a:noFill/>
          </a:ln>
          <a:effectLst>
            <a:outerShdw blurRad="152400" dist="63500" dir="2700000" sx="101000" sy="101000" algn="tl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r>
              <a:rPr lang="zh-CN" altLang="en-US" sz="2400" b="1" dirty="0">
                <a:latin typeface="Arial" panose="020B0604020202020204" pitchFamily="34" charset="0"/>
                <a:ea typeface="微软雅黑" panose="020B0503020204020204" pitchFamily="34" charset="-122"/>
              </a:rPr>
              <a:t>华东</a:t>
            </a:r>
          </a:p>
        </p:txBody>
      </p:sp>
      <p:sp>
        <p:nvSpPr>
          <p:cNvPr id="131" name="矩形 130"/>
          <p:cNvSpPr/>
          <p:nvPr/>
        </p:nvSpPr>
        <p:spPr>
          <a:xfrm>
            <a:off x="7806847" y="5251029"/>
            <a:ext cx="966606" cy="389697"/>
          </a:xfrm>
          <a:prstGeom prst="rect">
            <a:avLst/>
          </a:prstGeom>
          <a:solidFill>
            <a:srgbClr val="FF0000"/>
          </a:solidFill>
          <a:ln>
            <a:noFill/>
          </a:ln>
          <a:effectLst>
            <a:outerShdw blurRad="152400" dist="63500" dir="2700000" sx="101000" sy="101000" algn="tl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r>
              <a:rPr lang="zh-CN" altLang="en-US" sz="2400" b="1" dirty="0">
                <a:latin typeface="Arial" panose="020B0604020202020204" pitchFamily="34" charset="0"/>
                <a:ea typeface="微软雅黑" panose="020B0503020204020204" pitchFamily="34" charset="-122"/>
              </a:rPr>
              <a:t>华北</a:t>
            </a:r>
          </a:p>
        </p:txBody>
      </p:sp>
      <p:sp>
        <p:nvSpPr>
          <p:cNvPr id="132" name="矩形 131"/>
          <p:cNvSpPr/>
          <p:nvPr/>
        </p:nvSpPr>
        <p:spPr>
          <a:xfrm>
            <a:off x="11024015" y="1785926"/>
            <a:ext cx="123783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zh-CN" sz="2000" b="1" dirty="0">
                <a:solidFill>
                  <a:srgbClr val="00A1DA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45%</a:t>
            </a:r>
            <a:endParaRPr lang="zh-CN" altLang="en-US" sz="2000" b="1" dirty="0">
              <a:solidFill>
                <a:srgbClr val="00A1DA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34" name="矩形 133"/>
          <p:cNvSpPr/>
          <p:nvPr/>
        </p:nvSpPr>
        <p:spPr>
          <a:xfrm>
            <a:off x="7809718" y="3488603"/>
            <a:ext cx="1537129" cy="400110"/>
          </a:xfrm>
          <a:prstGeom prst="rect">
            <a:avLst/>
          </a:prstGeom>
          <a:solidFill>
            <a:srgbClr val="C0504D"/>
          </a:solidFill>
          <a:ln>
            <a:noFill/>
          </a:ln>
          <a:effectLst>
            <a:outerShdw blurRad="152400" dist="63500" dir="2700000" sx="101000" sy="101000" algn="tl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r>
              <a:rPr lang="zh-CN" altLang="en-US" sz="2400" b="1" dirty="0">
                <a:latin typeface="Arial" panose="020B0604020202020204" pitchFamily="34" charset="0"/>
                <a:ea typeface="微软雅黑" panose="020B0503020204020204" pitchFamily="34" charset="-122"/>
              </a:rPr>
              <a:t>海外</a:t>
            </a:r>
          </a:p>
        </p:txBody>
      </p:sp>
      <p:sp>
        <p:nvSpPr>
          <p:cNvPr id="137" name="矩形 136"/>
          <p:cNvSpPr/>
          <p:nvPr/>
        </p:nvSpPr>
        <p:spPr>
          <a:xfrm>
            <a:off x="9467913" y="3490725"/>
            <a:ext cx="123783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zh-CN" sz="2000" b="1" dirty="0">
                <a:solidFill>
                  <a:srgbClr val="00A1DA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15%</a:t>
            </a:r>
            <a:endParaRPr lang="zh-CN" altLang="en-US" sz="2000" b="1" dirty="0">
              <a:solidFill>
                <a:srgbClr val="00A1DA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38" name="矩形 137"/>
          <p:cNvSpPr/>
          <p:nvPr/>
        </p:nvSpPr>
        <p:spPr>
          <a:xfrm>
            <a:off x="10024297" y="2636203"/>
            <a:ext cx="123783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zh-CN" sz="2000" b="1" dirty="0">
                <a:solidFill>
                  <a:srgbClr val="00A1DA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22%</a:t>
            </a:r>
            <a:endParaRPr lang="zh-CN" altLang="en-US" sz="2000" b="1" dirty="0">
              <a:solidFill>
                <a:srgbClr val="00A1DA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39" name="矩形 138"/>
          <p:cNvSpPr/>
          <p:nvPr/>
        </p:nvSpPr>
        <p:spPr>
          <a:xfrm>
            <a:off x="8884758" y="5251029"/>
            <a:ext cx="123783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zh-CN" sz="2000" b="1" dirty="0">
                <a:solidFill>
                  <a:srgbClr val="00A1DA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8%</a:t>
            </a:r>
            <a:endParaRPr lang="zh-CN" altLang="en-US" sz="2000" b="1" dirty="0">
              <a:solidFill>
                <a:srgbClr val="00A1DA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40" name="矩形 139"/>
          <p:cNvSpPr/>
          <p:nvPr/>
        </p:nvSpPr>
        <p:spPr>
          <a:xfrm>
            <a:off x="7814910" y="4369144"/>
            <a:ext cx="1408802" cy="419623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152400" dist="63500" dir="2700000" sx="101000" sy="101000" algn="tl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r>
              <a:rPr lang="zh-CN" altLang="en-US" sz="2400" b="1" dirty="0">
                <a:latin typeface="Arial" panose="020B0604020202020204" pitchFamily="34" charset="0"/>
                <a:ea typeface="微软雅黑" panose="020B0503020204020204" pitchFamily="34" charset="-122"/>
              </a:rPr>
              <a:t>西南</a:t>
            </a:r>
          </a:p>
        </p:txBody>
      </p:sp>
      <p:sp>
        <p:nvSpPr>
          <p:cNvPr id="141" name="矩形 140"/>
          <p:cNvSpPr/>
          <p:nvPr/>
        </p:nvSpPr>
        <p:spPr>
          <a:xfrm>
            <a:off x="9396111" y="4370877"/>
            <a:ext cx="123783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zh-CN" sz="2000" b="1" dirty="0">
                <a:solidFill>
                  <a:srgbClr val="00A1DA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10%</a:t>
            </a:r>
            <a:endParaRPr lang="zh-CN" altLang="en-US" sz="2000" b="1" dirty="0">
              <a:solidFill>
                <a:srgbClr val="00A1DA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47" name="文本框 1"/>
          <p:cNvSpPr>
            <a:spLocks noChangeArrowheads="1"/>
          </p:cNvSpPr>
          <p:nvPr/>
        </p:nvSpPr>
        <p:spPr bwMode="auto">
          <a:xfrm>
            <a:off x="5011316" y="404858"/>
            <a:ext cx="21666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6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销售区域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25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25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25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25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25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25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25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25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25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25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9" grpId="0" animBg="1"/>
      <p:bldP spid="130" grpId="0" animBg="1"/>
      <p:bldP spid="131" grpId="0" animBg="1"/>
      <p:bldP spid="132" grpId="0"/>
      <p:bldP spid="134" grpId="0" animBg="1"/>
      <p:bldP spid="137" grpId="0"/>
      <p:bldP spid="138" grpId="0"/>
      <p:bldP spid="139" grpId="0"/>
      <p:bldP spid="140" grpId="0" animBg="1"/>
      <p:bldP spid="141" grpId="0"/>
      <p:bldP spid="4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文本框 1"/>
          <p:cNvSpPr>
            <a:spLocks noChangeArrowheads="1"/>
          </p:cNvSpPr>
          <p:nvPr/>
        </p:nvSpPr>
        <p:spPr bwMode="auto">
          <a:xfrm>
            <a:off x="4799062" y="404858"/>
            <a:ext cx="21666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6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合作客户</a:t>
            </a:r>
          </a:p>
        </p:txBody>
      </p:sp>
      <p:grpSp>
        <p:nvGrpSpPr>
          <p:cNvPr id="107" name="组合 106">
            <a:extLst>
              <a:ext uri="{FF2B5EF4-FFF2-40B4-BE49-F238E27FC236}">
                <a16:creationId xmlns:a16="http://schemas.microsoft.com/office/drawing/2014/main" id="{2F33BFC4-C45C-747E-9A19-F1CCEFD0ADB8}"/>
              </a:ext>
            </a:extLst>
          </p:cNvPr>
          <p:cNvGrpSpPr/>
          <p:nvPr/>
        </p:nvGrpSpPr>
        <p:grpSpPr>
          <a:xfrm>
            <a:off x="4303332" y="1726424"/>
            <a:ext cx="3631886" cy="3412773"/>
            <a:chOff x="151973" y="1307022"/>
            <a:chExt cx="2825287" cy="2687093"/>
          </a:xfrm>
        </p:grpSpPr>
        <p:sp>
          <p:nvSpPr>
            <p:cNvPr id="62" name="任意多边形 30">
              <a:extLst>
                <a:ext uri="{FF2B5EF4-FFF2-40B4-BE49-F238E27FC236}">
                  <a16:creationId xmlns:a16="http://schemas.microsoft.com/office/drawing/2014/main" id="{BCBC7E73-E98D-78EE-C557-841B16E786DD}"/>
                </a:ext>
              </a:extLst>
            </p:cNvPr>
            <p:cNvSpPr/>
            <p:nvPr/>
          </p:nvSpPr>
          <p:spPr bwMode="auto">
            <a:xfrm>
              <a:off x="1126217" y="2172253"/>
              <a:ext cx="869822" cy="939665"/>
            </a:xfrm>
            <a:custGeom>
              <a:avLst/>
              <a:gdLst>
                <a:gd name="connsiteX0" fmla="*/ 0 w 4017518"/>
                <a:gd name="connsiteY0" fmla="*/ 1747621 h 3495241"/>
                <a:gd name="connsiteX1" fmla="*/ 873810 w 4017518"/>
                <a:gd name="connsiteY1" fmla="*/ 1 h 3495241"/>
                <a:gd name="connsiteX2" fmla="*/ 3143708 w 4017518"/>
                <a:gd name="connsiteY2" fmla="*/ 1 h 3495241"/>
                <a:gd name="connsiteX3" fmla="*/ 4017518 w 4017518"/>
                <a:gd name="connsiteY3" fmla="*/ 1747621 h 3495241"/>
                <a:gd name="connsiteX4" fmla="*/ 3143708 w 4017518"/>
                <a:gd name="connsiteY4" fmla="*/ 3495240 h 3495241"/>
                <a:gd name="connsiteX5" fmla="*/ 873810 w 4017518"/>
                <a:gd name="connsiteY5" fmla="*/ 3495240 h 3495241"/>
                <a:gd name="connsiteX6" fmla="*/ 0 w 4017518"/>
                <a:gd name="connsiteY6" fmla="*/ 1747621 h 349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17518" h="3495241">
                  <a:moveTo>
                    <a:pt x="2008758" y="0"/>
                  </a:moveTo>
                  <a:lnTo>
                    <a:pt x="4017516" y="760215"/>
                  </a:lnTo>
                  <a:lnTo>
                    <a:pt x="4017516" y="2735026"/>
                  </a:lnTo>
                  <a:lnTo>
                    <a:pt x="2008758" y="3495241"/>
                  </a:lnTo>
                  <a:lnTo>
                    <a:pt x="2" y="2735026"/>
                  </a:lnTo>
                  <a:lnTo>
                    <a:pt x="2" y="760215"/>
                  </a:lnTo>
                  <a:lnTo>
                    <a:pt x="2008758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5000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495300" dist="571500" dir="8100000" algn="tr" rotWithShape="0">
                <a:prstClr val="black">
                  <a:alpha val="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8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通讯</a:t>
              </a:r>
            </a:p>
          </p:txBody>
        </p:sp>
        <p:grpSp>
          <p:nvGrpSpPr>
            <p:cNvPr id="73" name="组合 72">
              <a:extLst>
                <a:ext uri="{FF2B5EF4-FFF2-40B4-BE49-F238E27FC236}">
                  <a16:creationId xmlns:a16="http://schemas.microsoft.com/office/drawing/2014/main" id="{32ECCE56-3BE4-59E8-1152-2631B7265B5D}"/>
                </a:ext>
              </a:extLst>
            </p:cNvPr>
            <p:cNvGrpSpPr/>
            <p:nvPr/>
          </p:nvGrpSpPr>
          <p:grpSpPr>
            <a:xfrm>
              <a:off x="622598" y="1307022"/>
              <a:ext cx="873646" cy="966985"/>
              <a:chOff x="1107110" y="1452425"/>
              <a:chExt cx="1397246" cy="1605507"/>
            </a:xfrm>
          </p:grpSpPr>
          <p:sp>
            <p:nvSpPr>
              <p:cNvPr id="23" name="任意多边形 4">
                <a:extLst>
                  <a:ext uri="{FF2B5EF4-FFF2-40B4-BE49-F238E27FC236}">
                    <a16:creationId xmlns:a16="http://schemas.microsoft.com/office/drawing/2014/main" id="{C108064A-AF5F-15CC-D02A-B4042E581951}"/>
                  </a:ext>
                </a:extLst>
              </p:cNvPr>
              <p:cNvSpPr/>
              <p:nvPr/>
            </p:nvSpPr>
            <p:spPr bwMode="auto">
              <a:xfrm>
                <a:off x="1107110" y="1452425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72" name="图片 71">
                <a:extLst>
                  <a:ext uri="{FF2B5EF4-FFF2-40B4-BE49-F238E27FC236}">
                    <a16:creationId xmlns:a16="http://schemas.microsoft.com/office/drawing/2014/main" id="{163C4372-EF67-1178-7405-63262F914D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62258" y="2049544"/>
                <a:ext cx="1295100" cy="411268"/>
              </a:xfrm>
              <a:prstGeom prst="rect">
                <a:avLst/>
              </a:prstGeom>
              <a:noFill/>
            </p:spPr>
          </p:pic>
        </p:grpSp>
        <p:grpSp>
          <p:nvGrpSpPr>
            <p:cNvPr id="83" name="组合 82">
              <a:extLst>
                <a:ext uri="{FF2B5EF4-FFF2-40B4-BE49-F238E27FC236}">
                  <a16:creationId xmlns:a16="http://schemas.microsoft.com/office/drawing/2014/main" id="{3B578ABA-EC26-35FC-6E49-9009C44CC297}"/>
                </a:ext>
              </a:extLst>
            </p:cNvPr>
            <p:cNvGrpSpPr/>
            <p:nvPr/>
          </p:nvGrpSpPr>
          <p:grpSpPr>
            <a:xfrm>
              <a:off x="1617997" y="1319823"/>
              <a:ext cx="888339" cy="966985"/>
              <a:chOff x="1058095" y="1442975"/>
              <a:chExt cx="1420745" cy="1605507"/>
            </a:xfrm>
          </p:grpSpPr>
          <p:sp>
            <p:nvSpPr>
              <p:cNvPr id="84" name="任意多边形 4">
                <a:extLst>
                  <a:ext uri="{FF2B5EF4-FFF2-40B4-BE49-F238E27FC236}">
                    <a16:creationId xmlns:a16="http://schemas.microsoft.com/office/drawing/2014/main" id="{B4660EB8-4942-1F33-C622-EFD28DCE26DA}"/>
                  </a:ext>
                </a:extLst>
              </p:cNvPr>
              <p:cNvSpPr/>
              <p:nvPr/>
            </p:nvSpPr>
            <p:spPr bwMode="auto">
              <a:xfrm>
                <a:off x="1058095" y="1442975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85" name="图片 84">
                <a:extLst>
                  <a:ext uri="{FF2B5EF4-FFF2-40B4-BE49-F238E27FC236}">
                    <a16:creationId xmlns:a16="http://schemas.microsoft.com/office/drawing/2014/main" id="{7ED235AB-07FB-F67D-C439-E716B7BA74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081594" y="1993072"/>
                <a:ext cx="1397246" cy="414883"/>
              </a:xfrm>
              <a:prstGeom prst="rect">
                <a:avLst/>
              </a:prstGeom>
              <a:noFill/>
            </p:spPr>
          </p:pic>
        </p:grpSp>
        <p:grpSp>
          <p:nvGrpSpPr>
            <p:cNvPr id="87" name="组合 86">
              <a:extLst>
                <a:ext uri="{FF2B5EF4-FFF2-40B4-BE49-F238E27FC236}">
                  <a16:creationId xmlns:a16="http://schemas.microsoft.com/office/drawing/2014/main" id="{F6274A8E-BC10-97D9-0A90-59C1C6A1C6FE}"/>
                </a:ext>
              </a:extLst>
            </p:cNvPr>
            <p:cNvGrpSpPr/>
            <p:nvPr/>
          </p:nvGrpSpPr>
          <p:grpSpPr>
            <a:xfrm>
              <a:off x="2103614" y="2175345"/>
              <a:ext cx="873646" cy="966985"/>
              <a:chOff x="1064426" y="1411344"/>
              <a:chExt cx="1397246" cy="1605507"/>
            </a:xfrm>
          </p:grpSpPr>
          <p:sp>
            <p:nvSpPr>
              <p:cNvPr id="89" name="任意多边形 4">
                <a:extLst>
                  <a:ext uri="{FF2B5EF4-FFF2-40B4-BE49-F238E27FC236}">
                    <a16:creationId xmlns:a16="http://schemas.microsoft.com/office/drawing/2014/main" id="{A388671B-D561-F81A-A3D0-7F9B713A520A}"/>
                  </a:ext>
                </a:extLst>
              </p:cNvPr>
              <p:cNvSpPr/>
              <p:nvPr/>
            </p:nvSpPr>
            <p:spPr bwMode="auto">
              <a:xfrm>
                <a:off x="1064426" y="1411344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91" name="图片 90">
                <a:extLst>
                  <a:ext uri="{FF2B5EF4-FFF2-40B4-BE49-F238E27FC236}">
                    <a16:creationId xmlns:a16="http://schemas.microsoft.com/office/drawing/2014/main" id="{EE967FB4-D340-C6F4-3140-75BCCFA484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99570" y="1962695"/>
                <a:ext cx="1185311" cy="506217"/>
              </a:xfrm>
              <a:prstGeom prst="rect">
                <a:avLst/>
              </a:prstGeom>
              <a:noFill/>
            </p:spPr>
          </p:pic>
        </p:grpSp>
        <p:grpSp>
          <p:nvGrpSpPr>
            <p:cNvPr id="92" name="组合 91">
              <a:extLst>
                <a:ext uri="{FF2B5EF4-FFF2-40B4-BE49-F238E27FC236}">
                  <a16:creationId xmlns:a16="http://schemas.microsoft.com/office/drawing/2014/main" id="{F5C3A85B-D639-245F-7037-A1AB30354B22}"/>
                </a:ext>
              </a:extLst>
            </p:cNvPr>
            <p:cNvGrpSpPr/>
            <p:nvPr/>
          </p:nvGrpSpPr>
          <p:grpSpPr>
            <a:xfrm>
              <a:off x="1612375" y="3027130"/>
              <a:ext cx="873646" cy="966985"/>
              <a:chOff x="1070168" y="1375386"/>
              <a:chExt cx="1397246" cy="1605507"/>
            </a:xfrm>
          </p:grpSpPr>
          <p:sp>
            <p:nvSpPr>
              <p:cNvPr id="93" name="任意多边形 4">
                <a:extLst>
                  <a:ext uri="{FF2B5EF4-FFF2-40B4-BE49-F238E27FC236}">
                    <a16:creationId xmlns:a16="http://schemas.microsoft.com/office/drawing/2014/main" id="{230B6D5B-76CD-30A6-BE02-31A8B5E57DE4}"/>
                  </a:ext>
                </a:extLst>
              </p:cNvPr>
              <p:cNvSpPr/>
              <p:nvPr/>
            </p:nvSpPr>
            <p:spPr bwMode="auto">
              <a:xfrm>
                <a:off x="1070168" y="1375386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94" name="图片 93">
                <a:extLst>
                  <a:ext uri="{FF2B5EF4-FFF2-40B4-BE49-F238E27FC236}">
                    <a16:creationId xmlns:a16="http://schemas.microsoft.com/office/drawing/2014/main" id="{1A8B7C4C-5E8E-CF61-4FDC-9CC1971FE1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clrChange>
                  <a:clrFrom>
                    <a:srgbClr val="FDFDFD"/>
                  </a:clrFrom>
                  <a:clrTo>
                    <a:srgbClr val="FDFDF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81697" y="1904559"/>
                <a:ext cx="1172962" cy="504503"/>
              </a:xfrm>
              <a:prstGeom prst="rect">
                <a:avLst/>
              </a:prstGeom>
              <a:noFill/>
            </p:spPr>
          </p:pic>
        </p:grpSp>
        <p:grpSp>
          <p:nvGrpSpPr>
            <p:cNvPr id="95" name="组合 94">
              <a:extLst>
                <a:ext uri="{FF2B5EF4-FFF2-40B4-BE49-F238E27FC236}">
                  <a16:creationId xmlns:a16="http://schemas.microsoft.com/office/drawing/2014/main" id="{492777BE-1D24-E306-21F4-57A0FCB29C79}"/>
                </a:ext>
              </a:extLst>
            </p:cNvPr>
            <p:cNvGrpSpPr/>
            <p:nvPr/>
          </p:nvGrpSpPr>
          <p:grpSpPr>
            <a:xfrm>
              <a:off x="151973" y="2160970"/>
              <a:ext cx="873646" cy="966985"/>
              <a:chOff x="1204427" y="1433692"/>
              <a:chExt cx="1397246" cy="1605507"/>
            </a:xfrm>
          </p:grpSpPr>
          <p:sp>
            <p:nvSpPr>
              <p:cNvPr id="97" name="任意多边形 4">
                <a:extLst>
                  <a:ext uri="{FF2B5EF4-FFF2-40B4-BE49-F238E27FC236}">
                    <a16:creationId xmlns:a16="http://schemas.microsoft.com/office/drawing/2014/main" id="{5975CB1D-8504-632A-5980-294B8B0F6D63}"/>
                  </a:ext>
                </a:extLst>
              </p:cNvPr>
              <p:cNvSpPr/>
              <p:nvPr/>
            </p:nvSpPr>
            <p:spPr bwMode="auto">
              <a:xfrm>
                <a:off x="1204427" y="1433692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99" name="图片 98">
                <a:extLst>
                  <a:ext uri="{FF2B5EF4-FFF2-40B4-BE49-F238E27FC236}">
                    <a16:creationId xmlns:a16="http://schemas.microsoft.com/office/drawing/2014/main" id="{F1C30EAA-3D2C-A3DE-C752-FBC402666A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342669" y="1959198"/>
                <a:ext cx="1120759" cy="544890"/>
              </a:xfrm>
              <a:prstGeom prst="rect">
                <a:avLst/>
              </a:prstGeom>
              <a:noFill/>
            </p:spPr>
          </p:pic>
        </p:grpSp>
        <p:grpSp>
          <p:nvGrpSpPr>
            <p:cNvPr id="101" name="组合 100">
              <a:extLst>
                <a:ext uri="{FF2B5EF4-FFF2-40B4-BE49-F238E27FC236}">
                  <a16:creationId xmlns:a16="http://schemas.microsoft.com/office/drawing/2014/main" id="{41551BF9-0239-8182-F483-1C782104704E}"/>
                </a:ext>
              </a:extLst>
            </p:cNvPr>
            <p:cNvGrpSpPr/>
            <p:nvPr/>
          </p:nvGrpSpPr>
          <p:grpSpPr>
            <a:xfrm>
              <a:off x="636776" y="3003846"/>
              <a:ext cx="873646" cy="966985"/>
              <a:chOff x="1129786" y="1396577"/>
              <a:chExt cx="1397246" cy="1605507"/>
            </a:xfrm>
          </p:grpSpPr>
          <p:sp>
            <p:nvSpPr>
              <p:cNvPr id="105" name="任意多边形 4">
                <a:extLst>
                  <a:ext uri="{FF2B5EF4-FFF2-40B4-BE49-F238E27FC236}">
                    <a16:creationId xmlns:a16="http://schemas.microsoft.com/office/drawing/2014/main" id="{A0E0F9E4-874A-D900-D2C6-7FD48A346832}"/>
                  </a:ext>
                </a:extLst>
              </p:cNvPr>
              <p:cNvSpPr/>
              <p:nvPr/>
            </p:nvSpPr>
            <p:spPr bwMode="auto">
              <a:xfrm>
                <a:off x="1129786" y="1396577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06" name="图片 105">
                <a:extLst>
                  <a:ext uri="{FF2B5EF4-FFF2-40B4-BE49-F238E27FC236}">
                    <a16:creationId xmlns:a16="http://schemas.microsoft.com/office/drawing/2014/main" id="{D0E56177-0E50-27F5-67B1-2779AF134B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329533" y="1771387"/>
                <a:ext cx="1038237" cy="798242"/>
              </a:xfrm>
              <a:prstGeom prst="rect">
                <a:avLst/>
              </a:prstGeom>
              <a:noFill/>
            </p:spPr>
          </p:pic>
        </p:grpSp>
      </p:grpSp>
      <p:grpSp>
        <p:nvGrpSpPr>
          <p:cNvPr id="135" name="组合 134">
            <a:extLst>
              <a:ext uri="{FF2B5EF4-FFF2-40B4-BE49-F238E27FC236}">
                <a16:creationId xmlns:a16="http://schemas.microsoft.com/office/drawing/2014/main" id="{68407C61-6B07-774D-686A-CC4FA8C796F5}"/>
              </a:ext>
            </a:extLst>
          </p:cNvPr>
          <p:cNvGrpSpPr/>
          <p:nvPr/>
        </p:nvGrpSpPr>
        <p:grpSpPr>
          <a:xfrm>
            <a:off x="414278" y="1719851"/>
            <a:ext cx="3631886" cy="3412773"/>
            <a:chOff x="151973" y="1307022"/>
            <a:chExt cx="2825287" cy="2687093"/>
          </a:xfrm>
        </p:grpSpPr>
        <p:sp>
          <p:nvSpPr>
            <p:cNvPr id="136" name="任意多边形 30">
              <a:extLst>
                <a:ext uri="{FF2B5EF4-FFF2-40B4-BE49-F238E27FC236}">
                  <a16:creationId xmlns:a16="http://schemas.microsoft.com/office/drawing/2014/main" id="{0A4B1073-344D-791A-BDEC-048F52E0201A}"/>
                </a:ext>
              </a:extLst>
            </p:cNvPr>
            <p:cNvSpPr/>
            <p:nvPr/>
          </p:nvSpPr>
          <p:spPr bwMode="auto">
            <a:xfrm>
              <a:off x="1126217" y="2172253"/>
              <a:ext cx="869822" cy="939665"/>
            </a:xfrm>
            <a:custGeom>
              <a:avLst/>
              <a:gdLst>
                <a:gd name="connsiteX0" fmla="*/ 0 w 4017518"/>
                <a:gd name="connsiteY0" fmla="*/ 1747621 h 3495241"/>
                <a:gd name="connsiteX1" fmla="*/ 873810 w 4017518"/>
                <a:gd name="connsiteY1" fmla="*/ 1 h 3495241"/>
                <a:gd name="connsiteX2" fmla="*/ 3143708 w 4017518"/>
                <a:gd name="connsiteY2" fmla="*/ 1 h 3495241"/>
                <a:gd name="connsiteX3" fmla="*/ 4017518 w 4017518"/>
                <a:gd name="connsiteY3" fmla="*/ 1747621 h 3495241"/>
                <a:gd name="connsiteX4" fmla="*/ 3143708 w 4017518"/>
                <a:gd name="connsiteY4" fmla="*/ 3495240 h 3495241"/>
                <a:gd name="connsiteX5" fmla="*/ 873810 w 4017518"/>
                <a:gd name="connsiteY5" fmla="*/ 3495240 h 3495241"/>
                <a:gd name="connsiteX6" fmla="*/ 0 w 4017518"/>
                <a:gd name="connsiteY6" fmla="*/ 1747621 h 349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17518" h="3495241">
                  <a:moveTo>
                    <a:pt x="2008758" y="0"/>
                  </a:moveTo>
                  <a:lnTo>
                    <a:pt x="4017516" y="760215"/>
                  </a:lnTo>
                  <a:lnTo>
                    <a:pt x="4017516" y="2735026"/>
                  </a:lnTo>
                  <a:lnTo>
                    <a:pt x="2008758" y="3495241"/>
                  </a:lnTo>
                  <a:lnTo>
                    <a:pt x="2" y="2735026"/>
                  </a:lnTo>
                  <a:lnTo>
                    <a:pt x="2" y="760215"/>
                  </a:lnTo>
                  <a:lnTo>
                    <a:pt x="2008758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5000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495300" dist="571500" dir="8100000" algn="tr" rotWithShape="0">
                <a:prstClr val="black">
                  <a:alpha val="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8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电源</a:t>
              </a:r>
            </a:p>
          </p:txBody>
        </p:sp>
        <p:grpSp>
          <p:nvGrpSpPr>
            <p:cNvPr id="137" name="组合 136">
              <a:extLst>
                <a:ext uri="{FF2B5EF4-FFF2-40B4-BE49-F238E27FC236}">
                  <a16:creationId xmlns:a16="http://schemas.microsoft.com/office/drawing/2014/main" id="{1E51E77E-E647-B08D-4B67-060CA220B16B}"/>
                </a:ext>
              </a:extLst>
            </p:cNvPr>
            <p:cNvGrpSpPr/>
            <p:nvPr/>
          </p:nvGrpSpPr>
          <p:grpSpPr>
            <a:xfrm>
              <a:off x="622598" y="1307022"/>
              <a:ext cx="873646" cy="966985"/>
              <a:chOff x="1107110" y="1452425"/>
              <a:chExt cx="1397246" cy="1605507"/>
            </a:xfrm>
          </p:grpSpPr>
          <p:sp>
            <p:nvSpPr>
              <p:cNvPr id="153" name="任意多边形 4">
                <a:extLst>
                  <a:ext uri="{FF2B5EF4-FFF2-40B4-BE49-F238E27FC236}">
                    <a16:creationId xmlns:a16="http://schemas.microsoft.com/office/drawing/2014/main" id="{6E948AA3-09DC-2A3B-6B6D-517C5B99DB06}"/>
                  </a:ext>
                </a:extLst>
              </p:cNvPr>
              <p:cNvSpPr/>
              <p:nvPr/>
            </p:nvSpPr>
            <p:spPr bwMode="auto">
              <a:xfrm>
                <a:off x="1107110" y="1452425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54" name="图片 153">
                <a:extLst>
                  <a:ext uri="{FF2B5EF4-FFF2-40B4-BE49-F238E27FC236}">
                    <a16:creationId xmlns:a16="http://schemas.microsoft.com/office/drawing/2014/main" id="{4E04E8B3-ACF8-5FFC-EA87-DD5B1EDB4C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164863" y="1993609"/>
                <a:ext cx="1289888" cy="483897"/>
              </a:xfrm>
              <a:prstGeom prst="rect">
                <a:avLst/>
              </a:prstGeom>
              <a:noFill/>
            </p:spPr>
          </p:pic>
        </p:grpSp>
        <p:grpSp>
          <p:nvGrpSpPr>
            <p:cNvPr id="138" name="组合 137">
              <a:extLst>
                <a:ext uri="{FF2B5EF4-FFF2-40B4-BE49-F238E27FC236}">
                  <a16:creationId xmlns:a16="http://schemas.microsoft.com/office/drawing/2014/main" id="{387E0F80-CB9F-0C8A-7F57-854A255ADCB7}"/>
                </a:ext>
              </a:extLst>
            </p:cNvPr>
            <p:cNvGrpSpPr/>
            <p:nvPr/>
          </p:nvGrpSpPr>
          <p:grpSpPr>
            <a:xfrm>
              <a:off x="1617997" y="1319823"/>
              <a:ext cx="873646" cy="966985"/>
              <a:chOff x="1058095" y="1442975"/>
              <a:chExt cx="1397246" cy="1605507"/>
            </a:xfrm>
          </p:grpSpPr>
          <p:sp>
            <p:nvSpPr>
              <p:cNvPr id="151" name="任意多边形 4">
                <a:extLst>
                  <a:ext uri="{FF2B5EF4-FFF2-40B4-BE49-F238E27FC236}">
                    <a16:creationId xmlns:a16="http://schemas.microsoft.com/office/drawing/2014/main" id="{5574CB48-51E4-F6E9-8745-B9861DB0FCAC}"/>
                  </a:ext>
                </a:extLst>
              </p:cNvPr>
              <p:cNvSpPr/>
              <p:nvPr/>
            </p:nvSpPr>
            <p:spPr bwMode="auto">
              <a:xfrm>
                <a:off x="1058095" y="1442975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52" name="图片 151">
                <a:extLst>
                  <a:ext uri="{FF2B5EF4-FFF2-40B4-BE49-F238E27FC236}">
                    <a16:creationId xmlns:a16="http://schemas.microsoft.com/office/drawing/2014/main" id="{9790F66F-A251-880A-B2C0-4F60B35F0F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21520" y="2027431"/>
                <a:ext cx="1295101" cy="452434"/>
              </a:xfrm>
              <a:prstGeom prst="rect">
                <a:avLst/>
              </a:prstGeom>
              <a:noFill/>
            </p:spPr>
          </p:pic>
        </p:grpSp>
        <p:grpSp>
          <p:nvGrpSpPr>
            <p:cNvPr id="139" name="组合 138">
              <a:extLst>
                <a:ext uri="{FF2B5EF4-FFF2-40B4-BE49-F238E27FC236}">
                  <a16:creationId xmlns:a16="http://schemas.microsoft.com/office/drawing/2014/main" id="{D747C604-68FE-4F34-C258-358F88BE38F0}"/>
                </a:ext>
              </a:extLst>
            </p:cNvPr>
            <p:cNvGrpSpPr/>
            <p:nvPr/>
          </p:nvGrpSpPr>
          <p:grpSpPr>
            <a:xfrm>
              <a:off x="2103614" y="2175345"/>
              <a:ext cx="873646" cy="966985"/>
              <a:chOff x="1064426" y="1411344"/>
              <a:chExt cx="1397246" cy="1605507"/>
            </a:xfrm>
          </p:grpSpPr>
          <p:sp>
            <p:nvSpPr>
              <p:cNvPr id="149" name="任意多边形 4">
                <a:extLst>
                  <a:ext uri="{FF2B5EF4-FFF2-40B4-BE49-F238E27FC236}">
                    <a16:creationId xmlns:a16="http://schemas.microsoft.com/office/drawing/2014/main" id="{6EA715B3-207B-627A-C59F-5063D78DA2D4}"/>
                  </a:ext>
                </a:extLst>
              </p:cNvPr>
              <p:cNvSpPr/>
              <p:nvPr/>
            </p:nvSpPr>
            <p:spPr bwMode="auto">
              <a:xfrm>
                <a:off x="1064426" y="1411344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50" name="图片 149">
                <a:extLst>
                  <a:ext uri="{FF2B5EF4-FFF2-40B4-BE49-F238E27FC236}">
                    <a16:creationId xmlns:a16="http://schemas.microsoft.com/office/drawing/2014/main" id="{823DD048-E810-E200-8741-64843869EC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71424" y="1953403"/>
                <a:ext cx="1241489" cy="524103"/>
              </a:xfrm>
              <a:prstGeom prst="rect">
                <a:avLst/>
              </a:prstGeom>
              <a:noFill/>
            </p:spPr>
          </p:pic>
        </p:grpSp>
        <p:grpSp>
          <p:nvGrpSpPr>
            <p:cNvPr id="140" name="组合 139">
              <a:extLst>
                <a:ext uri="{FF2B5EF4-FFF2-40B4-BE49-F238E27FC236}">
                  <a16:creationId xmlns:a16="http://schemas.microsoft.com/office/drawing/2014/main" id="{BE869174-BE49-24D3-6516-9AC672CA4E84}"/>
                </a:ext>
              </a:extLst>
            </p:cNvPr>
            <p:cNvGrpSpPr/>
            <p:nvPr/>
          </p:nvGrpSpPr>
          <p:grpSpPr>
            <a:xfrm>
              <a:off x="1612375" y="3027130"/>
              <a:ext cx="873646" cy="966985"/>
              <a:chOff x="1070168" y="1375386"/>
              <a:chExt cx="1397246" cy="1605507"/>
            </a:xfrm>
          </p:grpSpPr>
          <p:sp>
            <p:nvSpPr>
              <p:cNvPr id="147" name="任意多边形 4">
                <a:extLst>
                  <a:ext uri="{FF2B5EF4-FFF2-40B4-BE49-F238E27FC236}">
                    <a16:creationId xmlns:a16="http://schemas.microsoft.com/office/drawing/2014/main" id="{C3CBD8EE-C935-795F-A5AA-23A01717365D}"/>
                  </a:ext>
                </a:extLst>
              </p:cNvPr>
              <p:cNvSpPr/>
              <p:nvPr/>
            </p:nvSpPr>
            <p:spPr bwMode="auto">
              <a:xfrm>
                <a:off x="1070168" y="1375386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48" name="图片 147">
                <a:extLst>
                  <a:ext uri="{FF2B5EF4-FFF2-40B4-BE49-F238E27FC236}">
                    <a16:creationId xmlns:a16="http://schemas.microsoft.com/office/drawing/2014/main" id="{B4C9C0A5-189D-7901-8399-2620152CC8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81928" y="2032851"/>
                <a:ext cx="1255758" cy="444654"/>
              </a:xfrm>
              <a:prstGeom prst="rect">
                <a:avLst/>
              </a:prstGeom>
              <a:noFill/>
            </p:spPr>
          </p:pic>
        </p:grpSp>
        <p:grpSp>
          <p:nvGrpSpPr>
            <p:cNvPr id="141" name="组合 140">
              <a:extLst>
                <a:ext uri="{FF2B5EF4-FFF2-40B4-BE49-F238E27FC236}">
                  <a16:creationId xmlns:a16="http://schemas.microsoft.com/office/drawing/2014/main" id="{732B1B61-C2CB-7583-F0D9-D72B1CB0D95B}"/>
                </a:ext>
              </a:extLst>
            </p:cNvPr>
            <p:cNvGrpSpPr/>
            <p:nvPr/>
          </p:nvGrpSpPr>
          <p:grpSpPr>
            <a:xfrm>
              <a:off x="151973" y="2160970"/>
              <a:ext cx="873646" cy="966985"/>
              <a:chOff x="1204427" y="1433692"/>
              <a:chExt cx="1397246" cy="1605507"/>
            </a:xfrm>
          </p:grpSpPr>
          <p:sp>
            <p:nvSpPr>
              <p:cNvPr id="145" name="任意多边形 4">
                <a:extLst>
                  <a:ext uri="{FF2B5EF4-FFF2-40B4-BE49-F238E27FC236}">
                    <a16:creationId xmlns:a16="http://schemas.microsoft.com/office/drawing/2014/main" id="{41799B3D-A055-C0DB-8B42-3A063AE89AE4}"/>
                  </a:ext>
                </a:extLst>
              </p:cNvPr>
              <p:cNvSpPr/>
              <p:nvPr/>
            </p:nvSpPr>
            <p:spPr bwMode="auto">
              <a:xfrm>
                <a:off x="1204427" y="1433692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46" name="图片 145">
                <a:extLst>
                  <a:ext uri="{FF2B5EF4-FFF2-40B4-BE49-F238E27FC236}">
                    <a16:creationId xmlns:a16="http://schemas.microsoft.com/office/drawing/2014/main" id="{F0B019A2-12A2-88FC-F9A6-D76EC1BAD3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255499" y="1999616"/>
                <a:ext cx="1295100" cy="398326"/>
              </a:xfrm>
              <a:prstGeom prst="rect">
                <a:avLst/>
              </a:prstGeom>
              <a:noFill/>
            </p:spPr>
          </p:pic>
        </p:grpSp>
        <p:grpSp>
          <p:nvGrpSpPr>
            <p:cNvPr id="142" name="组合 141">
              <a:extLst>
                <a:ext uri="{FF2B5EF4-FFF2-40B4-BE49-F238E27FC236}">
                  <a16:creationId xmlns:a16="http://schemas.microsoft.com/office/drawing/2014/main" id="{674042E5-FD16-BA8F-23EE-EFD2AFC920C0}"/>
                </a:ext>
              </a:extLst>
            </p:cNvPr>
            <p:cNvGrpSpPr/>
            <p:nvPr/>
          </p:nvGrpSpPr>
          <p:grpSpPr>
            <a:xfrm>
              <a:off x="636776" y="3003846"/>
              <a:ext cx="873646" cy="966985"/>
              <a:chOff x="1129786" y="1396577"/>
              <a:chExt cx="1397246" cy="1605507"/>
            </a:xfrm>
          </p:grpSpPr>
          <p:sp>
            <p:nvSpPr>
              <p:cNvPr id="143" name="任意多边形 4">
                <a:extLst>
                  <a:ext uri="{FF2B5EF4-FFF2-40B4-BE49-F238E27FC236}">
                    <a16:creationId xmlns:a16="http://schemas.microsoft.com/office/drawing/2014/main" id="{11FEB898-2A1D-F07E-BEDD-872B77294509}"/>
                  </a:ext>
                </a:extLst>
              </p:cNvPr>
              <p:cNvSpPr/>
              <p:nvPr/>
            </p:nvSpPr>
            <p:spPr bwMode="auto">
              <a:xfrm>
                <a:off x="1129786" y="1396577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44" name="图片 143">
                <a:extLst>
                  <a:ext uri="{FF2B5EF4-FFF2-40B4-BE49-F238E27FC236}">
                    <a16:creationId xmlns:a16="http://schemas.microsoft.com/office/drawing/2014/main" id="{AE6608C2-41D5-C69D-52C7-EDCBFA7ABA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223381" y="2034075"/>
                <a:ext cx="1190787" cy="434559"/>
              </a:xfrm>
              <a:prstGeom prst="rect">
                <a:avLst/>
              </a:prstGeom>
              <a:noFill/>
            </p:spPr>
          </p:pic>
        </p:grpSp>
      </p:grpSp>
      <p:grpSp>
        <p:nvGrpSpPr>
          <p:cNvPr id="155" name="组合 154">
            <a:extLst>
              <a:ext uri="{FF2B5EF4-FFF2-40B4-BE49-F238E27FC236}">
                <a16:creationId xmlns:a16="http://schemas.microsoft.com/office/drawing/2014/main" id="{1C8BB5BE-C1E3-B65F-324A-3E7E03353DDE}"/>
              </a:ext>
            </a:extLst>
          </p:cNvPr>
          <p:cNvGrpSpPr/>
          <p:nvPr/>
        </p:nvGrpSpPr>
        <p:grpSpPr>
          <a:xfrm>
            <a:off x="8159507" y="1750681"/>
            <a:ext cx="3631886" cy="3412773"/>
            <a:chOff x="151973" y="1307022"/>
            <a:chExt cx="2825287" cy="2687093"/>
          </a:xfrm>
        </p:grpSpPr>
        <p:sp>
          <p:nvSpPr>
            <p:cNvPr id="156" name="任意多边形 30">
              <a:extLst>
                <a:ext uri="{FF2B5EF4-FFF2-40B4-BE49-F238E27FC236}">
                  <a16:creationId xmlns:a16="http://schemas.microsoft.com/office/drawing/2014/main" id="{21FCFB37-86CB-3A1D-E741-8081FBD5AF87}"/>
                </a:ext>
              </a:extLst>
            </p:cNvPr>
            <p:cNvSpPr/>
            <p:nvPr/>
          </p:nvSpPr>
          <p:spPr bwMode="auto">
            <a:xfrm>
              <a:off x="1126217" y="2172253"/>
              <a:ext cx="869822" cy="939665"/>
            </a:xfrm>
            <a:custGeom>
              <a:avLst/>
              <a:gdLst>
                <a:gd name="connsiteX0" fmla="*/ 0 w 4017518"/>
                <a:gd name="connsiteY0" fmla="*/ 1747621 h 3495241"/>
                <a:gd name="connsiteX1" fmla="*/ 873810 w 4017518"/>
                <a:gd name="connsiteY1" fmla="*/ 1 h 3495241"/>
                <a:gd name="connsiteX2" fmla="*/ 3143708 w 4017518"/>
                <a:gd name="connsiteY2" fmla="*/ 1 h 3495241"/>
                <a:gd name="connsiteX3" fmla="*/ 4017518 w 4017518"/>
                <a:gd name="connsiteY3" fmla="*/ 1747621 h 3495241"/>
                <a:gd name="connsiteX4" fmla="*/ 3143708 w 4017518"/>
                <a:gd name="connsiteY4" fmla="*/ 3495240 h 3495241"/>
                <a:gd name="connsiteX5" fmla="*/ 873810 w 4017518"/>
                <a:gd name="connsiteY5" fmla="*/ 3495240 h 3495241"/>
                <a:gd name="connsiteX6" fmla="*/ 0 w 4017518"/>
                <a:gd name="connsiteY6" fmla="*/ 1747621 h 349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17518" h="3495241">
                  <a:moveTo>
                    <a:pt x="2008758" y="0"/>
                  </a:moveTo>
                  <a:lnTo>
                    <a:pt x="4017516" y="760215"/>
                  </a:lnTo>
                  <a:lnTo>
                    <a:pt x="4017516" y="2735026"/>
                  </a:lnTo>
                  <a:lnTo>
                    <a:pt x="2008758" y="3495241"/>
                  </a:lnTo>
                  <a:lnTo>
                    <a:pt x="2" y="2735026"/>
                  </a:lnTo>
                  <a:lnTo>
                    <a:pt x="2" y="760215"/>
                  </a:lnTo>
                  <a:lnTo>
                    <a:pt x="2008758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5000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495300" dist="571500" dir="8100000" algn="tr" rotWithShape="0">
                <a:prstClr val="black">
                  <a:alpha val="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8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工控</a:t>
              </a:r>
            </a:p>
          </p:txBody>
        </p:sp>
        <p:grpSp>
          <p:nvGrpSpPr>
            <p:cNvPr id="157" name="组合 156">
              <a:extLst>
                <a:ext uri="{FF2B5EF4-FFF2-40B4-BE49-F238E27FC236}">
                  <a16:creationId xmlns:a16="http://schemas.microsoft.com/office/drawing/2014/main" id="{7C6DB818-6B2F-FF78-1917-A3EA2E6FBF23}"/>
                </a:ext>
              </a:extLst>
            </p:cNvPr>
            <p:cNvGrpSpPr/>
            <p:nvPr/>
          </p:nvGrpSpPr>
          <p:grpSpPr>
            <a:xfrm>
              <a:off x="622598" y="1307022"/>
              <a:ext cx="873646" cy="966985"/>
              <a:chOff x="1107110" y="1452425"/>
              <a:chExt cx="1397246" cy="1605507"/>
            </a:xfrm>
          </p:grpSpPr>
          <p:sp>
            <p:nvSpPr>
              <p:cNvPr id="173" name="任意多边形 4">
                <a:extLst>
                  <a:ext uri="{FF2B5EF4-FFF2-40B4-BE49-F238E27FC236}">
                    <a16:creationId xmlns:a16="http://schemas.microsoft.com/office/drawing/2014/main" id="{9B38BD77-6648-41E3-CCC2-901C8DDF30DE}"/>
                  </a:ext>
                </a:extLst>
              </p:cNvPr>
              <p:cNvSpPr/>
              <p:nvPr/>
            </p:nvSpPr>
            <p:spPr bwMode="auto">
              <a:xfrm>
                <a:off x="1107110" y="1452425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74" name="图片 173">
                <a:extLst>
                  <a:ext uri="{FF2B5EF4-FFF2-40B4-BE49-F238E27FC236}">
                    <a16:creationId xmlns:a16="http://schemas.microsoft.com/office/drawing/2014/main" id="{4C49E34D-EC31-1B09-BC67-17F259490B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62258" y="2017833"/>
                <a:ext cx="1295100" cy="499008"/>
              </a:xfrm>
              <a:prstGeom prst="rect">
                <a:avLst/>
              </a:prstGeom>
              <a:noFill/>
            </p:spPr>
          </p:pic>
        </p:grpSp>
        <p:grpSp>
          <p:nvGrpSpPr>
            <p:cNvPr id="158" name="组合 157">
              <a:extLst>
                <a:ext uri="{FF2B5EF4-FFF2-40B4-BE49-F238E27FC236}">
                  <a16:creationId xmlns:a16="http://schemas.microsoft.com/office/drawing/2014/main" id="{C6A9E0B3-3A83-6705-C8FD-5D8AD8D383F9}"/>
                </a:ext>
              </a:extLst>
            </p:cNvPr>
            <p:cNvGrpSpPr/>
            <p:nvPr/>
          </p:nvGrpSpPr>
          <p:grpSpPr>
            <a:xfrm>
              <a:off x="1617997" y="1319823"/>
              <a:ext cx="873646" cy="966985"/>
              <a:chOff x="1058095" y="1442975"/>
              <a:chExt cx="1397246" cy="1605507"/>
            </a:xfrm>
          </p:grpSpPr>
          <p:sp>
            <p:nvSpPr>
              <p:cNvPr id="171" name="任意多边形 4">
                <a:extLst>
                  <a:ext uri="{FF2B5EF4-FFF2-40B4-BE49-F238E27FC236}">
                    <a16:creationId xmlns:a16="http://schemas.microsoft.com/office/drawing/2014/main" id="{62EF8597-47DB-A20E-483D-BEAFC118EA68}"/>
                  </a:ext>
                </a:extLst>
              </p:cNvPr>
              <p:cNvSpPr/>
              <p:nvPr/>
            </p:nvSpPr>
            <p:spPr bwMode="auto">
              <a:xfrm>
                <a:off x="1058095" y="1442975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72" name="图片 171">
                <a:extLst>
                  <a:ext uri="{FF2B5EF4-FFF2-40B4-BE49-F238E27FC236}">
                    <a16:creationId xmlns:a16="http://schemas.microsoft.com/office/drawing/2014/main" id="{4A2CF724-6DD8-F144-96C6-5EB9921821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28838" y="2021911"/>
                <a:ext cx="1275431" cy="475461"/>
              </a:xfrm>
              <a:prstGeom prst="rect">
                <a:avLst/>
              </a:prstGeom>
              <a:noFill/>
            </p:spPr>
          </p:pic>
        </p:grpSp>
        <p:grpSp>
          <p:nvGrpSpPr>
            <p:cNvPr id="159" name="组合 158">
              <a:extLst>
                <a:ext uri="{FF2B5EF4-FFF2-40B4-BE49-F238E27FC236}">
                  <a16:creationId xmlns:a16="http://schemas.microsoft.com/office/drawing/2014/main" id="{F43BC916-03AB-295C-AFDF-E9DF83E535E2}"/>
                </a:ext>
              </a:extLst>
            </p:cNvPr>
            <p:cNvGrpSpPr/>
            <p:nvPr/>
          </p:nvGrpSpPr>
          <p:grpSpPr>
            <a:xfrm>
              <a:off x="2103614" y="2175345"/>
              <a:ext cx="873646" cy="966985"/>
              <a:chOff x="1064426" y="1411344"/>
              <a:chExt cx="1397246" cy="1605507"/>
            </a:xfrm>
          </p:grpSpPr>
          <p:sp>
            <p:nvSpPr>
              <p:cNvPr id="169" name="任意多边形 4">
                <a:extLst>
                  <a:ext uri="{FF2B5EF4-FFF2-40B4-BE49-F238E27FC236}">
                    <a16:creationId xmlns:a16="http://schemas.microsoft.com/office/drawing/2014/main" id="{E8EDDD13-5CA6-C908-813A-3ADCE59141C2}"/>
                  </a:ext>
                </a:extLst>
              </p:cNvPr>
              <p:cNvSpPr/>
              <p:nvPr/>
            </p:nvSpPr>
            <p:spPr bwMode="auto">
              <a:xfrm>
                <a:off x="1064426" y="1411344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70" name="图片 169">
                <a:extLst>
                  <a:ext uri="{FF2B5EF4-FFF2-40B4-BE49-F238E27FC236}">
                    <a16:creationId xmlns:a16="http://schemas.microsoft.com/office/drawing/2014/main" id="{63665BFD-C344-D823-7986-9D495ADD6F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screen">
                <a:clrChange>
                  <a:clrFrom>
                    <a:srgbClr val="FDFBFE"/>
                  </a:clrFrom>
                  <a:clrTo>
                    <a:srgbClr val="FDFBFE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370269" y="1816811"/>
                <a:ext cx="890970" cy="788370"/>
              </a:xfrm>
              <a:prstGeom prst="rect">
                <a:avLst/>
              </a:prstGeom>
              <a:noFill/>
            </p:spPr>
          </p:pic>
        </p:grpSp>
        <p:grpSp>
          <p:nvGrpSpPr>
            <p:cNvPr id="160" name="组合 159">
              <a:extLst>
                <a:ext uri="{FF2B5EF4-FFF2-40B4-BE49-F238E27FC236}">
                  <a16:creationId xmlns:a16="http://schemas.microsoft.com/office/drawing/2014/main" id="{9D9AF734-DD29-5F35-75A0-823ED05D6E29}"/>
                </a:ext>
              </a:extLst>
            </p:cNvPr>
            <p:cNvGrpSpPr/>
            <p:nvPr/>
          </p:nvGrpSpPr>
          <p:grpSpPr>
            <a:xfrm>
              <a:off x="1612375" y="3027130"/>
              <a:ext cx="873646" cy="966985"/>
              <a:chOff x="1070168" y="1375386"/>
              <a:chExt cx="1397246" cy="1605507"/>
            </a:xfrm>
          </p:grpSpPr>
          <p:sp>
            <p:nvSpPr>
              <p:cNvPr id="167" name="任意多边形 4">
                <a:extLst>
                  <a:ext uri="{FF2B5EF4-FFF2-40B4-BE49-F238E27FC236}">
                    <a16:creationId xmlns:a16="http://schemas.microsoft.com/office/drawing/2014/main" id="{4560B4A9-80E5-584D-4A2C-D0F18D7041F9}"/>
                  </a:ext>
                </a:extLst>
              </p:cNvPr>
              <p:cNvSpPr/>
              <p:nvPr/>
            </p:nvSpPr>
            <p:spPr bwMode="auto">
              <a:xfrm>
                <a:off x="1070168" y="1375386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68" name="图片 167">
                <a:extLst>
                  <a:ext uri="{FF2B5EF4-FFF2-40B4-BE49-F238E27FC236}">
                    <a16:creationId xmlns:a16="http://schemas.microsoft.com/office/drawing/2014/main" id="{524D9180-EA5D-29F9-C5DB-E239591EFB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49902" y="1932699"/>
                <a:ext cx="1255758" cy="444652"/>
              </a:xfrm>
              <a:prstGeom prst="rect">
                <a:avLst/>
              </a:prstGeom>
              <a:noFill/>
            </p:spPr>
          </p:pic>
        </p:grpSp>
        <p:grpSp>
          <p:nvGrpSpPr>
            <p:cNvPr id="161" name="组合 160">
              <a:extLst>
                <a:ext uri="{FF2B5EF4-FFF2-40B4-BE49-F238E27FC236}">
                  <a16:creationId xmlns:a16="http://schemas.microsoft.com/office/drawing/2014/main" id="{22414A4B-F836-26D0-9CBE-FBCB312A05A8}"/>
                </a:ext>
              </a:extLst>
            </p:cNvPr>
            <p:cNvGrpSpPr/>
            <p:nvPr/>
          </p:nvGrpSpPr>
          <p:grpSpPr>
            <a:xfrm>
              <a:off x="151973" y="2160970"/>
              <a:ext cx="873646" cy="966985"/>
              <a:chOff x="1204427" y="1433692"/>
              <a:chExt cx="1397246" cy="1605507"/>
            </a:xfrm>
          </p:grpSpPr>
          <p:sp>
            <p:nvSpPr>
              <p:cNvPr id="165" name="任意多边形 4">
                <a:extLst>
                  <a:ext uri="{FF2B5EF4-FFF2-40B4-BE49-F238E27FC236}">
                    <a16:creationId xmlns:a16="http://schemas.microsoft.com/office/drawing/2014/main" id="{968167C1-3A57-FA16-D7E0-337AA8387AA7}"/>
                  </a:ext>
                </a:extLst>
              </p:cNvPr>
              <p:cNvSpPr/>
              <p:nvPr/>
            </p:nvSpPr>
            <p:spPr bwMode="auto">
              <a:xfrm>
                <a:off x="1204427" y="1433692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66" name="图片 165">
                <a:extLst>
                  <a:ext uri="{FF2B5EF4-FFF2-40B4-BE49-F238E27FC236}">
                    <a16:creationId xmlns:a16="http://schemas.microsoft.com/office/drawing/2014/main" id="{97634A18-4786-0265-5A02-D539F16D4C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284750" y="1927487"/>
                <a:ext cx="1236601" cy="596232"/>
              </a:xfrm>
              <a:prstGeom prst="rect">
                <a:avLst/>
              </a:prstGeom>
              <a:noFill/>
            </p:spPr>
          </p:pic>
        </p:grpSp>
        <p:grpSp>
          <p:nvGrpSpPr>
            <p:cNvPr id="162" name="组合 161">
              <a:extLst>
                <a:ext uri="{FF2B5EF4-FFF2-40B4-BE49-F238E27FC236}">
                  <a16:creationId xmlns:a16="http://schemas.microsoft.com/office/drawing/2014/main" id="{DB1C252A-07F7-217F-0F16-26B6A76BCD74}"/>
                </a:ext>
              </a:extLst>
            </p:cNvPr>
            <p:cNvGrpSpPr/>
            <p:nvPr/>
          </p:nvGrpSpPr>
          <p:grpSpPr>
            <a:xfrm>
              <a:off x="636776" y="3003846"/>
              <a:ext cx="873646" cy="966985"/>
              <a:chOff x="1129786" y="1396577"/>
              <a:chExt cx="1397246" cy="1605507"/>
            </a:xfrm>
          </p:grpSpPr>
          <p:sp>
            <p:nvSpPr>
              <p:cNvPr id="163" name="任意多边形 4">
                <a:extLst>
                  <a:ext uri="{FF2B5EF4-FFF2-40B4-BE49-F238E27FC236}">
                    <a16:creationId xmlns:a16="http://schemas.microsoft.com/office/drawing/2014/main" id="{B115B9CD-C850-9D61-27CF-1ADA230A9856}"/>
                  </a:ext>
                </a:extLst>
              </p:cNvPr>
              <p:cNvSpPr/>
              <p:nvPr/>
            </p:nvSpPr>
            <p:spPr bwMode="auto">
              <a:xfrm>
                <a:off x="1129786" y="1396577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64" name="图片 163">
                <a:extLst>
                  <a:ext uri="{FF2B5EF4-FFF2-40B4-BE49-F238E27FC236}">
                    <a16:creationId xmlns:a16="http://schemas.microsoft.com/office/drawing/2014/main" id="{DFE8302F-956B-22D3-E5E2-39DB0CA55E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214413" y="1948157"/>
                <a:ext cx="1190787" cy="489045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3059450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2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6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250"/>
                            </p:stCondLst>
                            <p:childTnLst>
                              <p:par>
                                <p:cTn id="18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20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文本框 1"/>
          <p:cNvSpPr>
            <a:spLocks noChangeArrowheads="1"/>
          </p:cNvSpPr>
          <p:nvPr/>
        </p:nvSpPr>
        <p:spPr bwMode="auto">
          <a:xfrm>
            <a:off x="4799062" y="404858"/>
            <a:ext cx="21666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6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合作客户</a:t>
            </a:r>
          </a:p>
        </p:txBody>
      </p:sp>
      <p:grpSp>
        <p:nvGrpSpPr>
          <p:cNvPr id="107" name="组合 106">
            <a:extLst>
              <a:ext uri="{FF2B5EF4-FFF2-40B4-BE49-F238E27FC236}">
                <a16:creationId xmlns:a16="http://schemas.microsoft.com/office/drawing/2014/main" id="{2F33BFC4-C45C-747E-9A19-F1CCEFD0ADB8}"/>
              </a:ext>
            </a:extLst>
          </p:cNvPr>
          <p:cNvGrpSpPr/>
          <p:nvPr/>
        </p:nvGrpSpPr>
        <p:grpSpPr>
          <a:xfrm>
            <a:off x="4303332" y="1726424"/>
            <a:ext cx="3631888" cy="3412773"/>
            <a:chOff x="151973" y="1307022"/>
            <a:chExt cx="2825286" cy="2687094"/>
          </a:xfrm>
        </p:grpSpPr>
        <p:sp>
          <p:nvSpPr>
            <p:cNvPr id="62" name="任意多边形 30">
              <a:extLst>
                <a:ext uri="{FF2B5EF4-FFF2-40B4-BE49-F238E27FC236}">
                  <a16:creationId xmlns:a16="http://schemas.microsoft.com/office/drawing/2014/main" id="{BCBC7E73-E98D-78EE-C557-841B16E786DD}"/>
                </a:ext>
              </a:extLst>
            </p:cNvPr>
            <p:cNvSpPr/>
            <p:nvPr/>
          </p:nvSpPr>
          <p:spPr bwMode="auto">
            <a:xfrm>
              <a:off x="1126217" y="2172253"/>
              <a:ext cx="869822" cy="939665"/>
            </a:xfrm>
            <a:custGeom>
              <a:avLst/>
              <a:gdLst>
                <a:gd name="connsiteX0" fmla="*/ 0 w 4017518"/>
                <a:gd name="connsiteY0" fmla="*/ 1747621 h 3495241"/>
                <a:gd name="connsiteX1" fmla="*/ 873810 w 4017518"/>
                <a:gd name="connsiteY1" fmla="*/ 1 h 3495241"/>
                <a:gd name="connsiteX2" fmla="*/ 3143708 w 4017518"/>
                <a:gd name="connsiteY2" fmla="*/ 1 h 3495241"/>
                <a:gd name="connsiteX3" fmla="*/ 4017518 w 4017518"/>
                <a:gd name="connsiteY3" fmla="*/ 1747621 h 3495241"/>
                <a:gd name="connsiteX4" fmla="*/ 3143708 w 4017518"/>
                <a:gd name="connsiteY4" fmla="*/ 3495240 h 3495241"/>
                <a:gd name="connsiteX5" fmla="*/ 873810 w 4017518"/>
                <a:gd name="connsiteY5" fmla="*/ 3495240 h 3495241"/>
                <a:gd name="connsiteX6" fmla="*/ 0 w 4017518"/>
                <a:gd name="connsiteY6" fmla="*/ 1747621 h 349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17518" h="3495241">
                  <a:moveTo>
                    <a:pt x="2008758" y="0"/>
                  </a:moveTo>
                  <a:lnTo>
                    <a:pt x="4017516" y="760215"/>
                  </a:lnTo>
                  <a:lnTo>
                    <a:pt x="4017516" y="2735026"/>
                  </a:lnTo>
                  <a:lnTo>
                    <a:pt x="2008758" y="3495241"/>
                  </a:lnTo>
                  <a:lnTo>
                    <a:pt x="2" y="2735026"/>
                  </a:lnTo>
                  <a:lnTo>
                    <a:pt x="2" y="760215"/>
                  </a:lnTo>
                  <a:lnTo>
                    <a:pt x="2008758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5000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495300" dist="571500" dir="8100000" algn="tr" rotWithShape="0">
                <a:prstClr val="black">
                  <a:alpha val="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8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家电</a:t>
              </a:r>
            </a:p>
          </p:txBody>
        </p:sp>
        <p:grpSp>
          <p:nvGrpSpPr>
            <p:cNvPr id="73" name="组合 72">
              <a:extLst>
                <a:ext uri="{FF2B5EF4-FFF2-40B4-BE49-F238E27FC236}">
                  <a16:creationId xmlns:a16="http://schemas.microsoft.com/office/drawing/2014/main" id="{32ECCE56-3BE4-59E8-1152-2631B7265B5D}"/>
                </a:ext>
              </a:extLst>
            </p:cNvPr>
            <p:cNvGrpSpPr/>
            <p:nvPr/>
          </p:nvGrpSpPr>
          <p:grpSpPr>
            <a:xfrm>
              <a:off x="622598" y="1307022"/>
              <a:ext cx="873646" cy="966985"/>
              <a:chOff x="1107110" y="1452425"/>
              <a:chExt cx="1397246" cy="1605507"/>
            </a:xfrm>
          </p:grpSpPr>
          <p:sp>
            <p:nvSpPr>
              <p:cNvPr id="23" name="任意多边形 4">
                <a:extLst>
                  <a:ext uri="{FF2B5EF4-FFF2-40B4-BE49-F238E27FC236}">
                    <a16:creationId xmlns:a16="http://schemas.microsoft.com/office/drawing/2014/main" id="{C108064A-AF5F-15CC-D02A-B4042E581951}"/>
                  </a:ext>
                </a:extLst>
              </p:cNvPr>
              <p:cNvSpPr/>
              <p:nvPr/>
            </p:nvSpPr>
            <p:spPr bwMode="auto">
              <a:xfrm>
                <a:off x="1107110" y="1452425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72" name="图片 71">
                <a:extLst>
                  <a:ext uri="{FF2B5EF4-FFF2-40B4-BE49-F238E27FC236}">
                    <a16:creationId xmlns:a16="http://schemas.microsoft.com/office/drawing/2014/main" id="{163C4372-EF67-1178-7405-63262F914D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208483" y="2012169"/>
                <a:ext cx="1239850" cy="454544"/>
              </a:xfrm>
              <a:prstGeom prst="rect">
                <a:avLst/>
              </a:prstGeom>
              <a:noFill/>
            </p:spPr>
          </p:pic>
        </p:grpSp>
        <p:grpSp>
          <p:nvGrpSpPr>
            <p:cNvPr id="83" name="组合 82">
              <a:extLst>
                <a:ext uri="{FF2B5EF4-FFF2-40B4-BE49-F238E27FC236}">
                  <a16:creationId xmlns:a16="http://schemas.microsoft.com/office/drawing/2014/main" id="{3B578ABA-EC26-35FC-6E49-9009C44CC297}"/>
                </a:ext>
              </a:extLst>
            </p:cNvPr>
            <p:cNvGrpSpPr/>
            <p:nvPr/>
          </p:nvGrpSpPr>
          <p:grpSpPr>
            <a:xfrm>
              <a:off x="1617995" y="1319823"/>
              <a:ext cx="873645" cy="966985"/>
              <a:chOff x="1058095" y="1442975"/>
              <a:chExt cx="1397246" cy="1605507"/>
            </a:xfrm>
          </p:grpSpPr>
          <p:sp>
            <p:nvSpPr>
              <p:cNvPr id="84" name="任意多边形 4">
                <a:extLst>
                  <a:ext uri="{FF2B5EF4-FFF2-40B4-BE49-F238E27FC236}">
                    <a16:creationId xmlns:a16="http://schemas.microsoft.com/office/drawing/2014/main" id="{B4660EB8-4942-1F33-C622-EFD28DCE26DA}"/>
                  </a:ext>
                </a:extLst>
              </p:cNvPr>
              <p:cNvSpPr/>
              <p:nvPr/>
            </p:nvSpPr>
            <p:spPr bwMode="auto">
              <a:xfrm>
                <a:off x="1058095" y="1442975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85" name="图片 84">
                <a:extLst>
                  <a:ext uri="{FF2B5EF4-FFF2-40B4-BE49-F238E27FC236}">
                    <a16:creationId xmlns:a16="http://schemas.microsoft.com/office/drawing/2014/main" id="{7ED235AB-07FB-F67D-C439-E716B7BA740E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/>
            </p:blipFill>
            <p:spPr>
              <a:xfrm>
                <a:off x="1125163" y="2093278"/>
                <a:ext cx="1284820" cy="323075"/>
              </a:xfrm>
              <a:prstGeom prst="rect">
                <a:avLst/>
              </a:prstGeom>
              <a:noFill/>
            </p:spPr>
          </p:pic>
        </p:grpSp>
        <p:grpSp>
          <p:nvGrpSpPr>
            <p:cNvPr id="87" name="组合 86">
              <a:extLst>
                <a:ext uri="{FF2B5EF4-FFF2-40B4-BE49-F238E27FC236}">
                  <a16:creationId xmlns:a16="http://schemas.microsoft.com/office/drawing/2014/main" id="{F6274A8E-BC10-97D9-0A90-59C1C6A1C6FE}"/>
                </a:ext>
              </a:extLst>
            </p:cNvPr>
            <p:cNvGrpSpPr/>
            <p:nvPr/>
          </p:nvGrpSpPr>
          <p:grpSpPr>
            <a:xfrm>
              <a:off x="2103613" y="2175345"/>
              <a:ext cx="873646" cy="966985"/>
              <a:chOff x="1064426" y="1411344"/>
              <a:chExt cx="1397246" cy="1605507"/>
            </a:xfrm>
          </p:grpSpPr>
          <p:sp>
            <p:nvSpPr>
              <p:cNvPr id="89" name="任意多边形 4">
                <a:extLst>
                  <a:ext uri="{FF2B5EF4-FFF2-40B4-BE49-F238E27FC236}">
                    <a16:creationId xmlns:a16="http://schemas.microsoft.com/office/drawing/2014/main" id="{A388671B-D561-F81A-A3D0-7F9B713A520A}"/>
                  </a:ext>
                </a:extLst>
              </p:cNvPr>
              <p:cNvSpPr/>
              <p:nvPr/>
            </p:nvSpPr>
            <p:spPr bwMode="auto">
              <a:xfrm>
                <a:off x="1064426" y="1411344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91" name="图片 90">
                <a:extLst>
                  <a:ext uri="{FF2B5EF4-FFF2-40B4-BE49-F238E27FC236}">
                    <a16:creationId xmlns:a16="http://schemas.microsoft.com/office/drawing/2014/main" id="{EE967FB4-D340-C6F4-3140-75BCCFA484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57913" y="1939450"/>
                <a:ext cx="1213456" cy="489331"/>
              </a:xfrm>
              <a:prstGeom prst="rect">
                <a:avLst/>
              </a:prstGeom>
              <a:noFill/>
            </p:spPr>
          </p:pic>
        </p:grpSp>
        <p:grpSp>
          <p:nvGrpSpPr>
            <p:cNvPr id="92" name="组合 91">
              <a:extLst>
                <a:ext uri="{FF2B5EF4-FFF2-40B4-BE49-F238E27FC236}">
                  <a16:creationId xmlns:a16="http://schemas.microsoft.com/office/drawing/2014/main" id="{F5C3A85B-D639-245F-7037-A1AB30354B22}"/>
                </a:ext>
              </a:extLst>
            </p:cNvPr>
            <p:cNvGrpSpPr/>
            <p:nvPr/>
          </p:nvGrpSpPr>
          <p:grpSpPr>
            <a:xfrm>
              <a:off x="1612374" y="3027131"/>
              <a:ext cx="873646" cy="966985"/>
              <a:chOff x="1070168" y="1375386"/>
              <a:chExt cx="1397246" cy="1605507"/>
            </a:xfrm>
          </p:grpSpPr>
          <p:sp>
            <p:nvSpPr>
              <p:cNvPr id="93" name="任意多边形 4">
                <a:extLst>
                  <a:ext uri="{FF2B5EF4-FFF2-40B4-BE49-F238E27FC236}">
                    <a16:creationId xmlns:a16="http://schemas.microsoft.com/office/drawing/2014/main" id="{230B6D5B-76CD-30A6-BE02-31A8B5E57DE4}"/>
                  </a:ext>
                </a:extLst>
              </p:cNvPr>
              <p:cNvSpPr/>
              <p:nvPr/>
            </p:nvSpPr>
            <p:spPr bwMode="auto">
              <a:xfrm>
                <a:off x="1070168" y="1375386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94" name="图片 93">
                <a:extLst>
                  <a:ext uri="{FF2B5EF4-FFF2-40B4-BE49-F238E27FC236}">
                    <a16:creationId xmlns:a16="http://schemas.microsoft.com/office/drawing/2014/main" id="{1A8B7C4C-5E8E-CF61-4FDC-9CC1971FE1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09746" y="1891905"/>
                <a:ext cx="1318085" cy="500765"/>
              </a:xfrm>
              <a:prstGeom prst="rect">
                <a:avLst/>
              </a:prstGeom>
              <a:noFill/>
            </p:spPr>
          </p:pic>
        </p:grpSp>
        <p:grpSp>
          <p:nvGrpSpPr>
            <p:cNvPr id="95" name="组合 94">
              <a:extLst>
                <a:ext uri="{FF2B5EF4-FFF2-40B4-BE49-F238E27FC236}">
                  <a16:creationId xmlns:a16="http://schemas.microsoft.com/office/drawing/2014/main" id="{492777BE-1D24-E306-21F4-57A0FCB29C79}"/>
                </a:ext>
              </a:extLst>
            </p:cNvPr>
            <p:cNvGrpSpPr/>
            <p:nvPr/>
          </p:nvGrpSpPr>
          <p:grpSpPr>
            <a:xfrm>
              <a:off x="151973" y="2160970"/>
              <a:ext cx="873646" cy="966985"/>
              <a:chOff x="1204427" y="1433692"/>
              <a:chExt cx="1397246" cy="1605507"/>
            </a:xfrm>
          </p:grpSpPr>
          <p:sp>
            <p:nvSpPr>
              <p:cNvPr id="97" name="任意多边形 4">
                <a:extLst>
                  <a:ext uri="{FF2B5EF4-FFF2-40B4-BE49-F238E27FC236}">
                    <a16:creationId xmlns:a16="http://schemas.microsoft.com/office/drawing/2014/main" id="{5975CB1D-8504-632A-5980-294B8B0F6D63}"/>
                  </a:ext>
                </a:extLst>
              </p:cNvPr>
              <p:cNvSpPr/>
              <p:nvPr/>
            </p:nvSpPr>
            <p:spPr bwMode="auto">
              <a:xfrm>
                <a:off x="1204427" y="1433692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99" name="图片 98">
                <a:extLst>
                  <a:ext uri="{FF2B5EF4-FFF2-40B4-BE49-F238E27FC236}">
                    <a16:creationId xmlns:a16="http://schemas.microsoft.com/office/drawing/2014/main" id="{F1C30EAA-3D2C-A3DE-C752-FBC402666A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352548" y="2009642"/>
                <a:ext cx="1120759" cy="484154"/>
              </a:xfrm>
              <a:prstGeom prst="rect">
                <a:avLst/>
              </a:prstGeom>
              <a:noFill/>
            </p:spPr>
          </p:pic>
        </p:grpSp>
        <p:grpSp>
          <p:nvGrpSpPr>
            <p:cNvPr id="101" name="组合 100">
              <a:extLst>
                <a:ext uri="{FF2B5EF4-FFF2-40B4-BE49-F238E27FC236}">
                  <a16:creationId xmlns:a16="http://schemas.microsoft.com/office/drawing/2014/main" id="{41551BF9-0239-8182-F483-1C782104704E}"/>
                </a:ext>
              </a:extLst>
            </p:cNvPr>
            <p:cNvGrpSpPr/>
            <p:nvPr/>
          </p:nvGrpSpPr>
          <p:grpSpPr>
            <a:xfrm>
              <a:off x="636776" y="3003846"/>
              <a:ext cx="873646" cy="966985"/>
              <a:chOff x="1129786" y="1396577"/>
              <a:chExt cx="1397246" cy="1605507"/>
            </a:xfrm>
          </p:grpSpPr>
          <p:sp>
            <p:nvSpPr>
              <p:cNvPr id="105" name="任意多边形 4">
                <a:extLst>
                  <a:ext uri="{FF2B5EF4-FFF2-40B4-BE49-F238E27FC236}">
                    <a16:creationId xmlns:a16="http://schemas.microsoft.com/office/drawing/2014/main" id="{A0E0F9E4-874A-D900-D2C6-7FD48A346832}"/>
                  </a:ext>
                </a:extLst>
              </p:cNvPr>
              <p:cNvSpPr/>
              <p:nvPr/>
            </p:nvSpPr>
            <p:spPr bwMode="auto">
              <a:xfrm>
                <a:off x="1129786" y="1396577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06" name="图片 105">
                <a:extLst>
                  <a:ext uri="{FF2B5EF4-FFF2-40B4-BE49-F238E27FC236}">
                    <a16:creationId xmlns:a16="http://schemas.microsoft.com/office/drawing/2014/main" id="{D0E56177-0E50-27F5-67B1-2779AF134B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248765" y="1862802"/>
                <a:ext cx="1159286" cy="574775"/>
              </a:xfrm>
              <a:prstGeom prst="rect">
                <a:avLst/>
              </a:prstGeom>
              <a:noFill/>
            </p:spPr>
          </p:pic>
        </p:grpSp>
      </p:grpSp>
      <p:grpSp>
        <p:nvGrpSpPr>
          <p:cNvPr id="135" name="组合 134">
            <a:extLst>
              <a:ext uri="{FF2B5EF4-FFF2-40B4-BE49-F238E27FC236}">
                <a16:creationId xmlns:a16="http://schemas.microsoft.com/office/drawing/2014/main" id="{68407C61-6B07-774D-686A-CC4FA8C796F5}"/>
              </a:ext>
            </a:extLst>
          </p:cNvPr>
          <p:cNvGrpSpPr/>
          <p:nvPr/>
        </p:nvGrpSpPr>
        <p:grpSpPr>
          <a:xfrm>
            <a:off x="414278" y="1719851"/>
            <a:ext cx="3631886" cy="3412773"/>
            <a:chOff x="151973" y="1307022"/>
            <a:chExt cx="2825287" cy="2687093"/>
          </a:xfrm>
        </p:grpSpPr>
        <p:sp>
          <p:nvSpPr>
            <p:cNvPr id="136" name="任意多边形 30">
              <a:extLst>
                <a:ext uri="{FF2B5EF4-FFF2-40B4-BE49-F238E27FC236}">
                  <a16:creationId xmlns:a16="http://schemas.microsoft.com/office/drawing/2014/main" id="{0A4B1073-344D-791A-BDEC-048F52E0201A}"/>
                </a:ext>
              </a:extLst>
            </p:cNvPr>
            <p:cNvSpPr/>
            <p:nvPr/>
          </p:nvSpPr>
          <p:spPr bwMode="auto">
            <a:xfrm>
              <a:off x="1126217" y="2172253"/>
              <a:ext cx="869822" cy="939665"/>
            </a:xfrm>
            <a:custGeom>
              <a:avLst/>
              <a:gdLst>
                <a:gd name="connsiteX0" fmla="*/ 0 w 4017518"/>
                <a:gd name="connsiteY0" fmla="*/ 1747621 h 3495241"/>
                <a:gd name="connsiteX1" fmla="*/ 873810 w 4017518"/>
                <a:gd name="connsiteY1" fmla="*/ 1 h 3495241"/>
                <a:gd name="connsiteX2" fmla="*/ 3143708 w 4017518"/>
                <a:gd name="connsiteY2" fmla="*/ 1 h 3495241"/>
                <a:gd name="connsiteX3" fmla="*/ 4017518 w 4017518"/>
                <a:gd name="connsiteY3" fmla="*/ 1747621 h 3495241"/>
                <a:gd name="connsiteX4" fmla="*/ 3143708 w 4017518"/>
                <a:gd name="connsiteY4" fmla="*/ 3495240 h 3495241"/>
                <a:gd name="connsiteX5" fmla="*/ 873810 w 4017518"/>
                <a:gd name="connsiteY5" fmla="*/ 3495240 h 3495241"/>
                <a:gd name="connsiteX6" fmla="*/ 0 w 4017518"/>
                <a:gd name="connsiteY6" fmla="*/ 1747621 h 349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17518" h="3495241">
                  <a:moveTo>
                    <a:pt x="2008758" y="0"/>
                  </a:moveTo>
                  <a:lnTo>
                    <a:pt x="4017516" y="760215"/>
                  </a:lnTo>
                  <a:lnTo>
                    <a:pt x="4017516" y="2735026"/>
                  </a:lnTo>
                  <a:lnTo>
                    <a:pt x="2008758" y="3495241"/>
                  </a:lnTo>
                  <a:lnTo>
                    <a:pt x="2" y="2735026"/>
                  </a:lnTo>
                  <a:lnTo>
                    <a:pt x="2" y="760215"/>
                  </a:lnTo>
                  <a:lnTo>
                    <a:pt x="2008758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5000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495300" dist="571500" dir="8100000" algn="tr" rotWithShape="0">
                <a:prstClr val="black">
                  <a:alpha val="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8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汽车</a:t>
              </a:r>
            </a:p>
          </p:txBody>
        </p:sp>
        <p:grpSp>
          <p:nvGrpSpPr>
            <p:cNvPr id="137" name="组合 136">
              <a:extLst>
                <a:ext uri="{FF2B5EF4-FFF2-40B4-BE49-F238E27FC236}">
                  <a16:creationId xmlns:a16="http://schemas.microsoft.com/office/drawing/2014/main" id="{1E51E77E-E647-B08D-4B67-060CA220B16B}"/>
                </a:ext>
              </a:extLst>
            </p:cNvPr>
            <p:cNvGrpSpPr/>
            <p:nvPr/>
          </p:nvGrpSpPr>
          <p:grpSpPr>
            <a:xfrm>
              <a:off x="622598" y="1307022"/>
              <a:ext cx="873646" cy="966985"/>
              <a:chOff x="1107110" y="1452425"/>
              <a:chExt cx="1397246" cy="1605507"/>
            </a:xfrm>
          </p:grpSpPr>
          <p:sp>
            <p:nvSpPr>
              <p:cNvPr id="153" name="任意多边形 4">
                <a:extLst>
                  <a:ext uri="{FF2B5EF4-FFF2-40B4-BE49-F238E27FC236}">
                    <a16:creationId xmlns:a16="http://schemas.microsoft.com/office/drawing/2014/main" id="{6E948AA3-09DC-2A3B-6B6D-517C5B99DB06}"/>
                  </a:ext>
                </a:extLst>
              </p:cNvPr>
              <p:cNvSpPr/>
              <p:nvPr/>
            </p:nvSpPr>
            <p:spPr bwMode="auto">
              <a:xfrm>
                <a:off x="1107110" y="1452425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54" name="图片 153">
                <a:extLst>
                  <a:ext uri="{FF2B5EF4-FFF2-40B4-BE49-F238E27FC236}">
                    <a16:creationId xmlns:a16="http://schemas.microsoft.com/office/drawing/2014/main" id="{4E04E8B3-ACF8-5FFC-EA87-DD5B1EDB4C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255212" y="1930608"/>
                <a:ext cx="1074893" cy="611958"/>
              </a:xfrm>
              <a:prstGeom prst="rect">
                <a:avLst/>
              </a:prstGeom>
              <a:noFill/>
            </p:spPr>
          </p:pic>
        </p:grpSp>
        <p:grpSp>
          <p:nvGrpSpPr>
            <p:cNvPr id="138" name="组合 137">
              <a:extLst>
                <a:ext uri="{FF2B5EF4-FFF2-40B4-BE49-F238E27FC236}">
                  <a16:creationId xmlns:a16="http://schemas.microsoft.com/office/drawing/2014/main" id="{387E0F80-CB9F-0C8A-7F57-854A255ADCB7}"/>
                </a:ext>
              </a:extLst>
            </p:cNvPr>
            <p:cNvGrpSpPr/>
            <p:nvPr/>
          </p:nvGrpSpPr>
          <p:grpSpPr>
            <a:xfrm>
              <a:off x="1617997" y="1319823"/>
              <a:ext cx="873646" cy="966985"/>
              <a:chOff x="1058095" y="1442975"/>
              <a:chExt cx="1397246" cy="1605507"/>
            </a:xfrm>
          </p:grpSpPr>
          <p:sp>
            <p:nvSpPr>
              <p:cNvPr id="151" name="任意多边形 4">
                <a:extLst>
                  <a:ext uri="{FF2B5EF4-FFF2-40B4-BE49-F238E27FC236}">
                    <a16:creationId xmlns:a16="http://schemas.microsoft.com/office/drawing/2014/main" id="{5574CB48-51E4-F6E9-8745-B9861DB0FCAC}"/>
                  </a:ext>
                </a:extLst>
              </p:cNvPr>
              <p:cNvSpPr/>
              <p:nvPr/>
            </p:nvSpPr>
            <p:spPr bwMode="auto">
              <a:xfrm>
                <a:off x="1058095" y="1442975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52" name="图片 151">
                <a:extLst>
                  <a:ext uri="{FF2B5EF4-FFF2-40B4-BE49-F238E27FC236}">
                    <a16:creationId xmlns:a16="http://schemas.microsoft.com/office/drawing/2014/main" id="{9790F66F-A251-880A-B2C0-4F60B35F0F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212314" y="1773365"/>
                <a:ext cx="1064523" cy="847210"/>
              </a:xfrm>
              <a:prstGeom prst="rect">
                <a:avLst/>
              </a:prstGeom>
              <a:noFill/>
            </p:spPr>
          </p:pic>
        </p:grpSp>
        <p:grpSp>
          <p:nvGrpSpPr>
            <p:cNvPr id="139" name="组合 138">
              <a:extLst>
                <a:ext uri="{FF2B5EF4-FFF2-40B4-BE49-F238E27FC236}">
                  <a16:creationId xmlns:a16="http://schemas.microsoft.com/office/drawing/2014/main" id="{D747C604-68FE-4F34-C258-358F88BE38F0}"/>
                </a:ext>
              </a:extLst>
            </p:cNvPr>
            <p:cNvGrpSpPr/>
            <p:nvPr/>
          </p:nvGrpSpPr>
          <p:grpSpPr>
            <a:xfrm>
              <a:off x="2103614" y="2175345"/>
              <a:ext cx="873646" cy="966985"/>
              <a:chOff x="1064426" y="1411344"/>
              <a:chExt cx="1397246" cy="1605507"/>
            </a:xfrm>
          </p:grpSpPr>
          <p:sp>
            <p:nvSpPr>
              <p:cNvPr id="149" name="任意多边形 4">
                <a:extLst>
                  <a:ext uri="{FF2B5EF4-FFF2-40B4-BE49-F238E27FC236}">
                    <a16:creationId xmlns:a16="http://schemas.microsoft.com/office/drawing/2014/main" id="{6EA715B3-207B-627A-C59F-5063D78DA2D4}"/>
                  </a:ext>
                </a:extLst>
              </p:cNvPr>
              <p:cNvSpPr/>
              <p:nvPr/>
            </p:nvSpPr>
            <p:spPr bwMode="auto">
              <a:xfrm>
                <a:off x="1064426" y="1411344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50" name="图片 149">
                <a:extLst>
                  <a:ext uri="{FF2B5EF4-FFF2-40B4-BE49-F238E27FC236}">
                    <a16:creationId xmlns:a16="http://schemas.microsoft.com/office/drawing/2014/main" id="{823DD048-E810-E200-8741-64843869EC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064426" y="2000380"/>
                <a:ext cx="1348487" cy="466086"/>
              </a:xfrm>
              <a:prstGeom prst="rect">
                <a:avLst/>
              </a:prstGeom>
              <a:noFill/>
            </p:spPr>
          </p:pic>
        </p:grpSp>
        <p:grpSp>
          <p:nvGrpSpPr>
            <p:cNvPr id="140" name="组合 139">
              <a:extLst>
                <a:ext uri="{FF2B5EF4-FFF2-40B4-BE49-F238E27FC236}">
                  <a16:creationId xmlns:a16="http://schemas.microsoft.com/office/drawing/2014/main" id="{BE869174-BE49-24D3-6516-9AC672CA4E84}"/>
                </a:ext>
              </a:extLst>
            </p:cNvPr>
            <p:cNvGrpSpPr/>
            <p:nvPr/>
          </p:nvGrpSpPr>
          <p:grpSpPr>
            <a:xfrm>
              <a:off x="1612375" y="3027130"/>
              <a:ext cx="873646" cy="966985"/>
              <a:chOff x="1070168" y="1375386"/>
              <a:chExt cx="1397246" cy="1605507"/>
            </a:xfrm>
          </p:grpSpPr>
          <p:sp>
            <p:nvSpPr>
              <p:cNvPr id="147" name="任意多边形 4">
                <a:extLst>
                  <a:ext uri="{FF2B5EF4-FFF2-40B4-BE49-F238E27FC236}">
                    <a16:creationId xmlns:a16="http://schemas.microsoft.com/office/drawing/2014/main" id="{C3CBD8EE-C935-795F-A5AA-23A01717365D}"/>
                  </a:ext>
                </a:extLst>
              </p:cNvPr>
              <p:cNvSpPr/>
              <p:nvPr/>
            </p:nvSpPr>
            <p:spPr bwMode="auto">
              <a:xfrm>
                <a:off x="1070168" y="1375386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48" name="图片 147">
                <a:extLst>
                  <a:ext uri="{FF2B5EF4-FFF2-40B4-BE49-F238E27FC236}">
                    <a16:creationId xmlns:a16="http://schemas.microsoft.com/office/drawing/2014/main" id="{B4C9C0A5-189D-7901-8399-2620152CC8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64879" y="2005125"/>
                <a:ext cx="1255758" cy="388975"/>
              </a:xfrm>
              <a:prstGeom prst="rect">
                <a:avLst/>
              </a:prstGeom>
              <a:noFill/>
            </p:spPr>
          </p:pic>
        </p:grpSp>
        <p:grpSp>
          <p:nvGrpSpPr>
            <p:cNvPr id="141" name="组合 140">
              <a:extLst>
                <a:ext uri="{FF2B5EF4-FFF2-40B4-BE49-F238E27FC236}">
                  <a16:creationId xmlns:a16="http://schemas.microsoft.com/office/drawing/2014/main" id="{732B1B61-C2CB-7583-F0D9-D72B1CB0D95B}"/>
                </a:ext>
              </a:extLst>
            </p:cNvPr>
            <p:cNvGrpSpPr/>
            <p:nvPr/>
          </p:nvGrpSpPr>
          <p:grpSpPr>
            <a:xfrm>
              <a:off x="151973" y="2160970"/>
              <a:ext cx="873646" cy="966985"/>
              <a:chOff x="1204427" y="1433692"/>
              <a:chExt cx="1397246" cy="1605507"/>
            </a:xfrm>
          </p:grpSpPr>
          <p:sp>
            <p:nvSpPr>
              <p:cNvPr id="145" name="任意多边形 4">
                <a:extLst>
                  <a:ext uri="{FF2B5EF4-FFF2-40B4-BE49-F238E27FC236}">
                    <a16:creationId xmlns:a16="http://schemas.microsoft.com/office/drawing/2014/main" id="{41799B3D-A055-C0DB-8B42-3A063AE89AE4}"/>
                  </a:ext>
                </a:extLst>
              </p:cNvPr>
              <p:cNvSpPr/>
              <p:nvPr/>
            </p:nvSpPr>
            <p:spPr bwMode="auto">
              <a:xfrm>
                <a:off x="1204427" y="1433692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46" name="图片 145">
                <a:extLst>
                  <a:ext uri="{FF2B5EF4-FFF2-40B4-BE49-F238E27FC236}">
                    <a16:creationId xmlns:a16="http://schemas.microsoft.com/office/drawing/2014/main" id="{F0B019A2-12A2-88FC-F9A6-D76EC1BAD3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255499" y="1967792"/>
                <a:ext cx="1295100" cy="467266"/>
              </a:xfrm>
              <a:prstGeom prst="rect">
                <a:avLst/>
              </a:prstGeom>
              <a:noFill/>
            </p:spPr>
          </p:pic>
        </p:grpSp>
        <p:grpSp>
          <p:nvGrpSpPr>
            <p:cNvPr id="142" name="组合 141">
              <a:extLst>
                <a:ext uri="{FF2B5EF4-FFF2-40B4-BE49-F238E27FC236}">
                  <a16:creationId xmlns:a16="http://schemas.microsoft.com/office/drawing/2014/main" id="{674042E5-FD16-BA8F-23EE-EFD2AFC920C0}"/>
                </a:ext>
              </a:extLst>
            </p:cNvPr>
            <p:cNvGrpSpPr/>
            <p:nvPr/>
          </p:nvGrpSpPr>
          <p:grpSpPr>
            <a:xfrm>
              <a:off x="636776" y="3003846"/>
              <a:ext cx="873646" cy="966985"/>
              <a:chOff x="1129786" y="1396577"/>
              <a:chExt cx="1397246" cy="1605507"/>
            </a:xfrm>
          </p:grpSpPr>
          <p:sp>
            <p:nvSpPr>
              <p:cNvPr id="143" name="任意多边形 4">
                <a:extLst>
                  <a:ext uri="{FF2B5EF4-FFF2-40B4-BE49-F238E27FC236}">
                    <a16:creationId xmlns:a16="http://schemas.microsoft.com/office/drawing/2014/main" id="{11FEB898-2A1D-F07E-BEDD-872B77294509}"/>
                  </a:ext>
                </a:extLst>
              </p:cNvPr>
              <p:cNvSpPr/>
              <p:nvPr/>
            </p:nvSpPr>
            <p:spPr bwMode="auto">
              <a:xfrm>
                <a:off x="1129786" y="1396577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44" name="图片 143">
                <a:extLst>
                  <a:ext uri="{FF2B5EF4-FFF2-40B4-BE49-F238E27FC236}">
                    <a16:creationId xmlns:a16="http://schemas.microsoft.com/office/drawing/2014/main" id="{AE6608C2-41D5-C69D-52C7-EDCBFA7ABA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screen">
                <a:clrChange>
                  <a:clrFrom>
                    <a:srgbClr val="000000">
                      <a:alpha val="0"/>
                    </a:srgbClr>
                  </a:clrFrom>
                  <a:clrTo>
                    <a:srgbClr val="000000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223381" y="1960347"/>
                <a:ext cx="1190787" cy="424589"/>
              </a:xfrm>
              <a:prstGeom prst="rect">
                <a:avLst/>
              </a:prstGeom>
              <a:noFill/>
            </p:spPr>
          </p:pic>
        </p:grpSp>
      </p:grpSp>
      <p:grpSp>
        <p:nvGrpSpPr>
          <p:cNvPr id="155" name="组合 154">
            <a:extLst>
              <a:ext uri="{FF2B5EF4-FFF2-40B4-BE49-F238E27FC236}">
                <a16:creationId xmlns:a16="http://schemas.microsoft.com/office/drawing/2014/main" id="{1C8BB5BE-C1E3-B65F-324A-3E7E03353DDE}"/>
              </a:ext>
            </a:extLst>
          </p:cNvPr>
          <p:cNvGrpSpPr/>
          <p:nvPr/>
        </p:nvGrpSpPr>
        <p:grpSpPr>
          <a:xfrm>
            <a:off x="8159507" y="1750681"/>
            <a:ext cx="3631886" cy="3412773"/>
            <a:chOff x="151973" y="1307022"/>
            <a:chExt cx="2825287" cy="2687093"/>
          </a:xfrm>
        </p:grpSpPr>
        <p:sp>
          <p:nvSpPr>
            <p:cNvPr id="156" name="任意多边形 30">
              <a:extLst>
                <a:ext uri="{FF2B5EF4-FFF2-40B4-BE49-F238E27FC236}">
                  <a16:creationId xmlns:a16="http://schemas.microsoft.com/office/drawing/2014/main" id="{21FCFB37-86CB-3A1D-E741-8081FBD5AF87}"/>
                </a:ext>
              </a:extLst>
            </p:cNvPr>
            <p:cNvSpPr/>
            <p:nvPr/>
          </p:nvSpPr>
          <p:spPr bwMode="auto">
            <a:xfrm>
              <a:off x="1126217" y="2172253"/>
              <a:ext cx="869822" cy="939665"/>
            </a:xfrm>
            <a:custGeom>
              <a:avLst/>
              <a:gdLst>
                <a:gd name="connsiteX0" fmla="*/ 0 w 4017518"/>
                <a:gd name="connsiteY0" fmla="*/ 1747621 h 3495241"/>
                <a:gd name="connsiteX1" fmla="*/ 873810 w 4017518"/>
                <a:gd name="connsiteY1" fmla="*/ 1 h 3495241"/>
                <a:gd name="connsiteX2" fmla="*/ 3143708 w 4017518"/>
                <a:gd name="connsiteY2" fmla="*/ 1 h 3495241"/>
                <a:gd name="connsiteX3" fmla="*/ 4017518 w 4017518"/>
                <a:gd name="connsiteY3" fmla="*/ 1747621 h 3495241"/>
                <a:gd name="connsiteX4" fmla="*/ 3143708 w 4017518"/>
                <a:gd name="connsiteY4" fmla="*/ 3495240 h 3495241"/>
                <a:gd name="connsiteX5" fmla="*/ 873810 w 4017518"/>
                <a:gd name="connsiteY5" fmla="*/ 3495240 h 3495241"/>
                <a:gd name="connsiteX6" fmla="*/ 0 w 4017518"/>
                <a:gd name="connsiteY6" fmla="*/ 1747621 h 349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17518" h="3495241">
                  <a:moveTo>
                    <a:pt x="2008758" y="0"/>
                  </a:moveTo>
                  <a:lnTo>
                    <a:pt x="4017516" y="760215"/>
                  </a:lnTo>
                  <a:lnTo>
                    <a:pt x="4017516" y="2735026"/>
                  </a:lnTo>
                  <a:lnTo>
                    <a:pt x="2008758" y="3495241"/>
                  </a:lnTo>
                  <a:lnTo>
                    <a:pt x="2" y="2735026"/>
                  </a:lnTo>
                  <a:lnTo>
                    <a:pt x="2" y="760215"/>
                  </a:lnTo>
                  <a:lnTo>
                    <a:pt x="2008758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5000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495300" dist="571500" dir="8100000" algn="tr" rotWithShape="0">
                <a:prstClr val="black">
                  <a:alpha val="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4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新能源</a:t>
              </a:r>
            </a:p>
          </p:txBody>
        </p:sp>
        <p:grpSp>
          <p:nvGrpSpPr>
            <p:cNvPr id="157" name="组合 156">
              <a:extLst>
                <a:ext uri="{FF2B5EF4-FFF2-40B4-BE49-F238E27FC236}">
                  <a16:creationId xmlns:a16="http://schemas.microsoft.com/office/drawing/2014/main" id="{7C6DB818-6B2F-FF78-1917-A3EA2E6FBF23}"/>
                </a:ext>
              </a:extLst>
            </p:cNvPr>
            <p:cNvGrpSpPr/>
            <p:nvPr/>
          </p:nvGrpSpPr>
          <p:grpSpPr>
            <a:xfrm>
              <a:off x="622598" y="1307022"/>
              <a:ext cx="873646" cy="966985"/>
              <a:chOff x="1107110" y="1452425"/>
              <a:chExt cx="1397246" cy="1605507"/>
            </a:xfrm>
          </p:grpSpPr>
          <p:sp>
            <p:nvSpPr>
              <p:cNvPr id="173" name="任意多边形 4">
                <a:extLst>
                  <a:ext uri="{FF2B5EF4-FFF2-40B4-BE49-F238E27FC236}">
                    <a16:creationId xmlns:a16="http://schemas.microsoft.com/office/drawing/2014/main" id="{9B38BD77-6648-41E3-CCC2-901C8DDF30DE}"/>
                  </a:ext>
                </a:extLst>
              </p:cNvPr>
              <p:cNvSpPr/>
              <p:nvPr/>
            </p:nvSpPr>
            <p:spPr bwMode="auto">
              <a:xfrm>
                <a:off x="1107110" y="1452425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74" name="图片 173">
                <a:extLst>
                  <a:ext uri="{FF2B5EF4-FFF2-40B4-BE49-F238E27FC236}">
                    <a16:creationId xmlns:a16="http://schemas.microsoft.com/office/drawing/2014/main" id="{4C49E34D-EC31-1B09-BC67-17F259490B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62258" y="1980458"/>
                <a:ext cx="1295100" cy="517649"/>
              </a:xfrm>
              <a:prstGeom prst="rect">
                <a:avLst/>
              </a:prstGeom>
              <a:noFill/>
            </p:spPr>
          </p:pic>
        </p:grpSp>
        <p:grpSp>
          <p:nvGrpSpPr>
            <p:cNvPr id="158" name="组合 157">
              <a:extLst>
                <a:ext uri="{FF2B5EF4-FFF2-40B4-BE49-F238E27FC236}">
                  <a16:creationId xmlns:a16="http://schemas.microsoft.com/office/drawing/2014/main" id="{C6A9E0B3-3A83-6705-C8FD-5D8AD8D383F9}"/>
                </a:ext>
              </a:extLst>
            </p:cNvPr>
            <p:cNvGrpSpPr/>
            <p:nvPr/>
          </p:nvGrpSpPr>
          <p:grpSpPr>
            <a:xfrm>
              <a:off x="1617997" y="1319823"/>
              <a:ext cx="873646" cy="966985"/>
              <a:chOff x="1058095" y="1442975"/>
              <a:chExt cx="1397246" cy="1605507"/>
            </a:xfrm>
          </p:grpSpPr>
          <p:sp>
            <p:nvSpPr>
              <p:cNvPr id="171" name="任意多边形 4">
                <a:extLst>
                  <a:ext uri="{FF2B5EF4-FFF2-40B4-BE49-F238E27FC236}">
                    <a16:creationId xmlns:a16="http://schemas.microsoft.com/office/drawing/2014/main" id="{62EF8597-47DB-A20E-483D-BEAFC118EA68}"/>
                  </a:ext>
                </a:extLst>
              </p:cNvPr>
              <p:cNvSpPr/>
              <p:nvPr/>
            </p:nvSpPr>
            <p:spPr bwMode="auto">
              <a:xfrm>
                <a:off x="1058095" y="1442975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72" name="图片 171">
                <a:extLst>
                  <a:ext uri="{FF2B5EF4-FFF2-40B4-BE49-F238E27FC236}">
                    <a16:creationId xmlns:a16="http://schemas.microsoft.com/office/drawing/2014/main" id="{4A2CF724-6DD8-F144-96C6-5EB9921821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55503" y="1989441"/>
                <a:ext cx="1202427" cy="462417"/>
              </a:xfrm>
              <a:prstGeom prst="rect">
                <a:avLst/>
              </a:prstGeom>
              <a:noFill/>
            </p:spPr>
          </p:pic>
        </p:grpSp>
        <p:grpSp>
          <p:nvGrpSpPr>
            <p:cNvPr id="159" name="组合 158">
              <a:extLst>
                <a:ext uri="{FF2B5EF4-FFF2-40B4-BE49-F238E27FC236}">
                  <a16:creationId xmlns:a16="http://schemas.microsoft.com/office/drawing/2014/main" id="{F43BC916-03AB-295C-AFDF-E9DF83E535E2}"/>
                </a:ext>
              </a:extLst>
            </p:cNvPr>
            <p:cNvGrpSpPr/>
            <p:nvPr/>
          </p:nvGrpSpPr>
          <p:grpSpPr>
            <a:xfrm>
              <a:off x="2103614" y="2175345"/>
              <a:ext cx="873646" cy="966985"/>
              <a:chOff x="1064426" y="1411344"/>
              <a:chExt cx="1397246" cy="1605507"/>
            </a:xfrm>
          </p:grpSpPr>
          <p:sp>
            <p:nvSpPr>
              <p:cNvPr id="169" name="任意多边形 4">
                <a:extLst>
                  <a:ext uri="{FF2B5EF4-FFF2-40B4-BE49-F238E27FC236}">
                    <a16:creationId xmlns:a16="http://schemas.microsoft.com/office/drawing/2014/main" id="{E8EDDD13-5CA6-C908-813A-3ADCE59141C2}"/>
                  </a:ext>
                </a:extLst>
              </p:cNvPr>
              <p:cNvSpPr/>
              <p:nvPr/>
            </p:nvSpPr>
            <p:spPr bwMode="auto">
              <a:xfrm>
                <a:off x="1064426" y="1411344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70" name="图片 169">
                <a:extLst>
                  <a:ext uri="{FF2B5EF4-FFF2-40B4-BE49-F238E27FC236}">
                    <a16:creationId xmlns:a16="http://schemas.microsoft.com/office/drawing/2014/main" id="{63665BFD-C344-D823-7986-9D495ADD6F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screen">
                <a:clrChange>
                  <a:clrFrom>
                    <a:srgbClr val="FEFFFF"/>
                  </a:clrFrom>
                  <a:clrTo>
                    <a:srgbClr val="FE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82837" y="1907740"/>
                <a:ext cx="1208781" cy="540562"/>
              </a:xfrm>
              <a:prstGeom prst="rect">
                <a:avLst/>
              </a:prstGeom>
              <a:noFill/>
            </p:spPr>
          </p:pic>
        </p:grpSp>
        <p:grpSp>
          <p:nvGrpSpPr>
            <p:cNvPr id="160" name="组合 159">
              <a:extLst>
                <a:ext uri="{FF2B5EF4-FFF2-40B4-BE49-F238E27FC236}">
                  <a16:creationId xmlns:a16="http://schemas.microsoft.com/office/drawing/2014/main" id="{9D9AF734-DD29-5F35-75A0-823ED05D6E29}"/>
                </a:ext>
              </a:extLst>
            </p:cNvPr>
            <p:cNvGrpSpPr/>
            <p:nvPr/>
          </p:nvGrpSpPr>
          <p:grpSpPr>
            <a:xfrm>
              <a:off x="1612375" y="3027130"/>
              <a:ext cx="873646" cy="966985"/>
              <a:chOff x="1070168" y="1375386"/>
              <a:chExt cx="1397246" cy="1605507"/>
            </a:xfrm>
          </p:grpSpPr>
          <p:sp>
            <p:nvSpPr>
              <p:cNvPr id="167" name="任意多边形 4">
                <a:extLst>
                  <a:ext uri="{FF2B5EF4-FFF2-40B4-BE49-F238E27FC236}">
                    <a16:creationId xmlns:a16="http://schemas.microsoft.com/office/drawing/2014/main" id="{4560B4A9-80E5-584D-4A2C-D0F18D7041F9}"/>
                  </a:ext>
                </a:extLst>
              </p:cNvPr>
              <p:cNvSpPr/>
              <p:nvPr/>
            </p:nvSpPr>
            <p:spPr bwMode="auto">
              <a:xfrm>
                <a:off x="1070168" y="1375386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68" name="图片 167">
                <a:extLst>
                  <a:ext uri="{FF2B5EF4-FFF2-40B4-BE49-F238E27FC236}">
                    <a16:creationId xmlns:a16="http://schemas.microsoft.com/office/drawing/2014/main" id="{524D9180-EA5D-29F9-C5DB-E239591EFB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177692" y="1838390"/>
                <a:ext cx="1200177" cy="641839"/>
              </a:xfrm>
              <a:prstGeom prst="rect">
                <a:avLst/>
              </a:prstGeom>
              <a:noFill/>
            </p:spPr>
          </p:pic>
        </p:grpSp>
        <p:grpSp>
          <p:nvGrpSpPr>
            <p:cNvPr id="161" name="组合 160">
              <a:extLst>
                <a:ext uri="{FF2B5EF4-FFF2-40B4-BE49-F238E27FC236}">
                  <a16:creationId xmlns:a16="http://schemas.microsoft.com/office/drawing/2014/main" id="{22414A4B-F836-26D0-9CBE-FBCB312A05A8}"/>
                </a:ext>
              </a:extLst>
            </p:cNvPr>
            <p:cNvGrpSpPr/>
            <p:nvPr/>
          </p:nvGrpSpPr>
          <p:grpSpPr>
            <a:xfrm>
              <a:off x="151973" y="2160970"/>
              <a:ext cx="873646" cy="966985"/>
              <a:chOff x="1204427" y="1433692"/>
              <a:chExt cx="1397246" cy="1605507"/>
            </a:xfrm>
          </p:grpSpPr>
          <p:sp>
            <p:nvSpPr>
              <p:cNvPr id="165" name="任意多边形 4">
                <a:extLst>
                  <a:ext uri="{FF2B5EF4-FFF2-40B4-BE49-F238E27FC236}">
                    <a16:creationId xmlns:a16="http://schemas.microsoft.com/office/drawing/2014/main" id="{968167C1-3A57-FA16-D7E0-337AA8387AA7}"/>
                  </a:ext>
                </a:extLst>
              </p:cNvPr>
              <p:cNvSpPr/>
              <p:nvPr/>
            </p:nvSpPr>
            <p:spPr bwMode="auto">
              <a:xfrm>
                <a:off x="1204427" y="1433692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66" name="图片 165">
                <a:extLst>
                  <a:ext uri="{FF2B5EF4-FFF2-40B4-BE49-F238E27FC236}">
                    <a16:creationId xmlns:a16="http://schemas.microsoft.com/office/drawing/2014/main" id="{97634A18-4786-0265-5A02-D539F16D4C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284750" y="1953955"/>
                <a:ext cx="1236601" cy="489331"/>
              </a:xfrm>
              <a:prstGeom prst="rect">
                <a:avLst/>
              </a:prstGeom>
              <a:noFill/>
            </p:spPr>
          </p:pic>
        </p:grpSp>
        <p:grpSp>
          <p:nvGrpSpPr>
            <p:cNvPr id="162" name="组合 161">
              <a:extLst>
                <a:ext uri="{FF2B5EF4-FFF2-40B4-BE49-F238E27FC236}">
                  <a16:creationId xmlns:a16="http://schemas.microsoft.com/office/drawing/2014/main" id="{DB1C252A-07F7-217F-0F16-26B6A76BCD74}"/>
                </a:ext>
              </a:extLst>
            </p:cNvPr>
            <p:cNvGrpSpPr/>
            <p:nvPr/>
          </p:nvGrpSpPr>
          <p:grpSpPr>
            <a:xfrm>
              <a:off x="636776" y="3003846"/>
              <a:ext cx="873646" cy="966985"/>
              <a:chOff x="1129786" y="1396577"/>
              <a:chExt cx="1397246" cy="1605507"/>
            </a:xfrm>
          </p:grpSpPr>
          <p:sp>
            <p:nvSpPr>
              <p:cNvPr id="163" name="任意多边形 4">
                <a:extLst>
                  <a:ext uri="{FF2B5EF4-FFF2-40B4-BE49-F238E27FC236}">
                    <a16:creationId xmlns:a16="http://schemas.microsoft.com/office/drawing/2014/main" id="{B115B9CD-C850-9D61-27CF-1ADA230A9856}"/>
                  </a:ext>
                </a:extLst>
              </p:cNvPr>
              <p:cNvSpPr/>
              <p:nvPr/>
            </p:nvSpPr>
            <p:spPr bwMode="auto">
              <a:xfrm>
                <a:off x="1129786" y="1396577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64" name="图片 163">
                <a:extLst>
                  <a:ext uri="{FF2B5EF4-FFF2-40B4-BE49-F238E27FC236}">
                    <a16:creationId xmlns:a16="http://schemas.microsoft.com/office/drawing/2014/main" id="{DFE8302F-956B-22D3-E5E2-39DB0CA55E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94396" y="1956084"/>
                <a:ext cx="1268024" cy="495891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4002801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2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6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250"/>
                            </p:stCondLst>
                            <p:childTnLst>
                              <p:par>
                                <p:cTn id="18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20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文本框 1"/>
          <p:cNvSpPr>
            <a:spLocks noChangeArrowheads="1"/>
          </p:cNvSpPr>
          <p:nvPr/>
        </p:nvSpPr>
        <p:spPr bwMode="auto">
          <a:xfrm>
            <a:off x="4799062" y="404858"/>
            <a:ext cx="21666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6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合作客户</a:t>
            </a:r>
          </a:p>
        </p:txBody>
      </p:sp>
      <p:grpSp>
        <p:nvGrpSpPr>
          <p:cNvPr id="107" name="组合 106">
            <a:extLst>
              <a:ext uri="{FF2B5EF4-FFF2-40B4-BE49-F238E27FC236}">
                <a16:creationId xmlns:a16="http://schemas.microsoft.com/office/drawing/2014/main" id="{2F33BFC4-C45C-747E-9A19-F1CCEFD0ADB8}"/>
              </a:ext>
            </a:extLst>
          </p:cNvPr>
          <p:cNvGrpSpPr/>
          <p:nvPr/>
        </p:nvGrpSpPr>
        <p:grpSpPr>
          <a:xfrm>
            <a:off x="4303332" y="1726424"/>
            <a:ext cx="3631886" cy="3412773"/>
            <a:chOff x="151973" y="1307022"/>
            <a:chExt cx="2825287" cy="2687093"/>
          </a:xfrm>
        </p:grpSpPr>
        <p:sp>
          <p:nvSpPr>
            <p:cNvPr id="62" name="任意多边形 30">
              <a:extLst>
                <a:ext uri="{FF2B5EF4-FFF2-40B4-BE49-F238E27FC236}">
                  <a16:creationId xmlns:a16="http://schemas.microsoft.com/office/drawing/2014/main" id="{BCBC7E73-E98D-78EE-C557-841B16E786DD}"/>
                </a:ext>
              </a:extLst>
            </p:cNvPr>
            <p:cNvSpPr/>
            <p:nvPr/>
          </p:nvSpPr>
          <p:spPr bwMode="auto">
            <a:xfrm>
              <a:off x="1126217" y="2172253"/>
              <a:ext cx="869822" cy="939665"/>
            </a:xfrm>
            <a:custGeom>
              <a:avLst/>
              <a:gdLst>
                <a:gd name="connsiteX0" fmla="*/ 0 w 4017518"/>
                <a:gd name="connsiteY0" fmla="*/ 1747621 h 3495241"/>
                <a:gd name="connsiteX1" fmla="*/ 873810 w 4017518"/>
                <a:gd name="connsiteY1" fmla="*/ 1 h 3495241"/>
                <a:gd name="connsiteX2" fmla="*/ 3143708 w 4017518"/>
                <a:gd name="connsiteY2" fmla="*/ 1 h 3495241"/>
                <a:gd name="connsiteX3" fmla="*/ 4017518 w 4017518"/>
                <a:gd name="connsiteY3" fmla="*/ 1747621 h 3495241"/>
                <a:gd name="connsiteX4" fmla="*/ 3143708 w 4017518"/>
                <a:gd name="connsiteY4" fmla="*/ 3495240 h 3495241"/>
                <a:gd name="connsiteX5" fmla="*/ 873810 w 4017518"/>
                <a:gd name="connsiteY5" fmla="*/ 3495240 h 3495241"/>
                <a:gd name="connsiteX6" fmla="*/ 0 w 4017518"/>
                <a:gd name="connsiteY6" fmla="*/ 1747621 h 349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17518" h="3495241">
                  <a:moveTo>
                    <a:pt x="2008758" y="0"/>
                  </a:moveTo>
                  <a:lnTo>
                    <a:pt x="4017516" y="760215"/>
                  </a:lnTo>
                  <a:lnTo>
                    <a:pt x="4017516" y="2735026"/>
                  </a:lnTo>
                  <a:lnTo>
                    <a:pt x="2008758" y="3495241"/>
                  </a:lnTo>
                  <a:lnTo>
                    <a:pt x="2" y="2735026"/>
                  </a:lnTo>
                  <a:lnTo>
                    <a:pt x="2" y="760215"/>
                  </a:lnTo>
                  <a:lnTo>
                    <a:pt x="2008758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5000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495300" dist="571500" dir="8100000" algn="tr" rotWithShape="0">
                <a:prstClr val="black">
                  <a:alpha val="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28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EMS</a:t>
              </a:r>
              <a:endParaRPr lang="zh-CN" altLang="en-US" sz="28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grpSp>
          <p:nvGrpSpPr>
            <p:cNvPr id="73" name="组合 72">
              <a:extLst>
                <a:ext uri="{FF2B5EF4-FFF2-40B4-BE49-F238E27FC236}">
                  <a16:creationId xmlns:a16="http://schemas.microsoft.com/office/drawing/2014/main" id="{32ECCE56-3BE4-59E8-1152-2631B7265B5D}"/>
                </a:ext>
              </a:extLst>
            </p:cNvPr>
            <p:cNvGrpSpPr/>
            <p:nvPr/>
          </p:nvGrpSpPr>
          <p:grpSpPr>
            <a:xfrm>
              <a:off x="622598" y="1307022"/>
              <a:ext cx="873646" cy="966985"/>
              <a:chOff x="1107110" y="1452425"/>
              <a:chExt cx="1397246" cy="1605507"/>
            </a:xfrm>
          </p:grpSpPr>
          <p:sp>
            <p:nvSpPr>
              <p:cNvPr id="23" name="任意多边形 4">
                <a:extLst>
                  <a:ext uri="{FF2B5EF4-FFF2-40B4-BE49-F238E27FC236}">
                    <a16:creationId xmlns:a16="http://schemas.microsoft.com/office/drawing/2014/main" id="{C108064A-AF5F-15CC-D02A-B4042E581951}"/>
                  </a:ext>
                </a:extLst>
              </p:cNvPr>
              <p:cNvSpPr/>
              <p:nvPr/>
            </p:nvSpPr>
            <p:spPr bwMode="auto">
              <a:xfrm>
                <a:off x="1107110" y="1452425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72" name="图片 71">
                <a:extLst>
                  <a:ext uri="{FF2B5EF4-FFF2-40B4-BE49-F238E27FC236}">
                    <a16:creationId xmlns:a16="http://schemas.microsoft.com/office/drawing/2014/main" id="{163C4372-EF67-1178-7405-63262F914D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208483" y="1998625"/>
                <a:ext cx="1239850" cy="442112"/>
              </a:xfrm>
              <a:prstGeom prst="rect">
                <a:avLst/>
              </a:prstGeom>
              <a:noFill/>
            </p:spPr>
          </p:pic>
        </p:grpSp>
        <p:grpSp>
          <p:nvGrpSpPr>
            <p:cNvPr id="83" name="组合 82">
              <a:extLst>
                <a:ext uri="{FF2B5EF4-FFF2-40B4-BE49-F238E27FC236}">
                  <a16:creationId xmlns:a16="http://schemas.microsoft.com/office/drawing/2014/main" id="{3B578ABA-EC26-35FC-6E49-9009C44CC297}"/>
                </a:ext>
              </a:extLst>
            </p:cNvPr>
            <p:cNvGrpSpPr/>
            <p:nvPr/>
          </p:nvGrpSpPr>
          <p:grpSpPr>
            <a:xfrm>
              <a:off x="1617997" y="1319823"/>
              <a:ext cx="873646" cy="966985"/>
              <a:chOff x="1058095" y="1442975"/>
              <a:chExt cx="1397246" cy="1605507"/>
            </a:xfrm>
          </p:grpSpPr>
          <p:sp>
            <p:nvSpPr>
              <p:cNvPr id="84" name="任意多边形 4">
                <a:extLst>
                  <a:ext uri="{FF2B5EF4-FFF2-40B4-BE49-F238E27FC236}">
                    <a16:creationId xmlns:a16="http://schemas.microsoft.com/office/drawing/2014/main" id="{B4660EB8-4942-1F33-C622-EFD28DCE26DA}"/>
                  </a:ext>
                </a:extLst>
              </p:cNvPr>
              <p:cNvSpPr/>
              <p:nvPr/>
            </p:nvSpPr>
            <p:spPr bwMode="auto">
              <a:xfrm>
                <a:off x="1058095" y="1442975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85" name="图片 84">
                <a:extLst>
                  <a:ext uri="{FF2B5EF4-FFF2-40B4-BE49-F238E27FC236}">
                    <a16:creationId xmlns:a16="http://schemas.microsoft.com/office/drawing/2014/main" id="{7ED235AB-07FB-F67D-C439-E716B7BA74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53983" y="1987631"/>
                <a:ext cx="1227169" cy="499008"/>
              </a:xfrm>
              <a:prstGeom prst="rect">
                <a:avLst/>
              </a:prstGeom>
              <a:noFill/>
            </p:spPr>
          </p:pic>
        </p:grpSp>
        <p:grpSp>
          <p:nvGrpSpPr>
            <p:cNvPr id="87" name="组合 86">
              <a:extLst>
                <a:ext uri="{FF2B5EF4-FFF2-40B4-BE49-F238E27FC236}">
                  <a16:creationId xmlns:a16="http://schemas.microsoft.com/office/drawing/2014/main" id="{F6274A8E-BC10-97D9-0A90-59C1C6A1C6FE}"/>
                </a:ext>
              </a:extLst>
            </p:cNvPr>
            <p:cNvGrpSpPr/>
            <p:nvPr/>
          </p:nvGrpSpPr>
          <p:grpSpPr>
            <a:xfrm>
              <a:off x="2103614" y="2175345"/>
              <a:ext cx="873646" cy="966985"/>
              <a:chOff x="1064426" y="1411344"/>
              <a:chExt cx="1397246" cy="1605507"/>
            </a:xfrm>
          </p:grpSpPr>
          <p:sp>
            <p:nvSpPr>
              <p:cNvPr id="89" name="任意多边形 4">
                <a:extLst>
                  <a:ext uri="{FF2B5EF4-FFF2-40B4-BE49-F238E27FC236}">
                    <a16:creationId xmlns:a16="http://schemas.microsoft.com/office/drawing/2014/main" id="{A388671B-D561-F81A-A3D0-7F9B713A520A}"/>
                  </a:ext>
                </a:extLst>
              </p:cNvPr>
              <p:cNvSpPr/>
              <p:nvPr/>
            </p:nvSpPr>
            <p:spPr bwMode="auto">
              <a:xfrm>
                <a:off x="1064426" y="1411344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91" name="图片 90">
                <a:extLst>
                  <a:ext uri="{FF2B5EF4-FFF2-40B4-BE49-F238E27FC236}">
                    <a16:creationId xmlns:a16="http://schemas.microsoft.com/office/drawing/2014/main" id="{EE967FB4-D340-C6F4-3140-75BCCFA484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42692" y="1939450"/>
                <a:ext cx="1240714" cy="560932"/>
              </a:xfrm>
              <a:prstGeom prst="rect">
                <a:avLst/>
              </a:prstGeom>
              <a:noFill/>
            </p:spPr>
          </p:pic>
        </p:grpSp>
        <p:grpSp>
          <p:nvGrpSpPr>
            <p:cNvPr id="92" name="组合 91">
              <a:extLst>
                <a:ext uri="{FF2B5EF4-FFF2-40B4-BE49-F238E27FC236}">
                  <a16:creationId xmlns:a16="http://schemas.microsoft.com/office/drawing/2014/main" id="{F5C3A85B-D639-245F-7037-A1AB30354B22}"/>
                </a:ext>
              </a:extLst>
            </p:cNvPr>
            <p:cNvGrpSpPr/>
            <p:nvPr/>
          </p:nvGrpSpPr>
          <p:grpSpPr>
            <a:xfrm>
              <a:off x="1612375" y="3027130"/>
              <a:ext cx="873646" cy="966985"/>
              <a:chOff x="1070168" y="1375386"/>
              <a:chExt cx="1397246" cy="1605507"/>
            </a:xfrm>
          </p:grpSpPr>
          <p:sp>
            <p:nvSpPr>
              <p:cNvPr id="93" name="任意多边形 4">
                <a:extLst>
                  <a:ext uri="{FF2B5EF4-FFF2-40B4-BE49-F238E27FC236}">
                    <a16:creationId xmlns:a16="http://schemas.microsoft.com/office/drawing/2014/main" id="{230B6D5B-76CD-30A6-BE02-31A8B5E57DE4}"/>
                  </a:ext>
                </a:extLst>
              </p:cNvPr>
              <p:cNvSpPr/>
              <p:nvPr/>
            </p:nvSpPr>
            <p:spPr bwMode="auto">
              <a:xfrm>
                <a:off x="1070168" y="1375386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94" name="图片 93">
                <a:extLst>
                  <a:ext uri="{FF2B5EF4-FFF2-40B4-BE49-F238E27FC236}">
                    <a16:creationId xmlns:a16="http://schemas.microsoft.com/office/drawing/2014/main" id="{1A8B7C4C-5E8E-CF61-4FDC-9CC1971FE1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clrChange>
                  <a:clrFrom>
                    <a:srgbClr val="000000">
                      <a:alpha val="0"/>
                    </a:srgbClr>
                  </a:clrFrom>
                  <a:clrTo>
                    <a:srgbClr val="000000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190706" y="1876681"/>
                <a:ext cx="1206539" cy="571713"/>
              </a:xfrm>
              <a:prstGeom prst="rect">
                <a:avLst/>
              </a:prstGeom>
              <a:noFill/>
            </p:spPr>
          </p:pic>
        </p:grpSp>
        <p:grpSp>
          <p:nvGrpSpPr>
            <p:cNvPr id="95" name="组合 94">
              <a:extLst>
                <a:ext uri="{FF2B5EF4-FFF2-40B4-BE49-F238E27FC236}">
                  <a16:creationId xmlns:a16="http://schemas.microsoft.com/office/drawing/2014/main" id="{492777BE-1D24-E306-21F4-57A0FCB29C79}"/>
                </a:ext>
              </a:extLst>
            </p:cNvPr>
            <p:cNvGrpSpPr/>
            <p:nvPr/>
          </p:nvGrpSpPr>
          <p:grpSpPr>
            <a:xfrm>
              <a:off x="151973" y="2160970"/>
              <a:ext cx="873646" cy="966985"/>
              <a:chOff x="1204427" y="1433692"/>
              <a:chExt cx="1397246" cy="1605507"/>
            </a:xfrm>
          </p:grpSpPr>
          <p:sp>
            <p:nvSpPr>
              <p:cNvPr id="97" name="任意多边形 4">
                <a:extLst>
                  <a:ext uri="{FF2B5EF4-FFF2-40B4-BE49-F238E27FC236}">
                    <a16:creationId xmlns:a16="http://schemas.microsoft.com/office/drawing/2014/main" id="{5975CB1D-8504-632A-5980-294B8B0F6D63}"/>
                  </a:ext>
                </a:extLst>
              </p:cNvPr>
              <p:cNvSpPr/>
              <p:nvPr/>
            </p:nvSpPr>
            <p:spPr bwMode="auto">
              <a:xfrm>
                <a:off x="1204427" y="1433692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99" name="图片 98">
                <a:extLst>
                  <a:ext uri="{FF2B5EF4-FFF2-40B4-BE49-F238E27FC236}">
                    <a16:creationId xmlns:a16="http://schemas.microsoft.com/office/drawing/2014/main" id="{F1C30EAA-3D2C-A3DE-C752-FBC402666A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303119" y="1908163"/>
                <a:ext cx="1199860" cy="585634"/>
              </a:xfrm>
              <a:prstGeom prst="rect">
                <a:avLst/>
              </a:prstGeom>
              <a:noFill/>
            </p:spPr>
          </p:pic>
        </p:grpSp>
        <p:grpSp>
          <p:nvGrpSpPr>
            <p:cNvPr id="101" name="组合 100">
              <a:extLst>
                <a:ext uri="{FF2B5EF4-FFF2-40B4-BE49-F238E27FC236}">
                  <a16:creationId xmlns:a16="http://schemas.microsoft.com/office/drawing/2014/main" id="{41551BF9-0239-8182-F483-1C782104704E}"/>
                </a:ext>
              </a:extLst>
            </p:cNvPr>
            <p:cNvGrpSpPr/>
            <p:nvPr/>
          </p:nvGrpSpPr>
          <p:grpSpPr>
            <a:xfrm>
              <a:off x="636776" y="3003846"/>
              <a:ext cx="873646" cy="966985"/>
              <a:chOff x="1129786" y="1396577"/>
              <a:chExt cx="1397246" cy="1605507"/>
            </a:xfrm>
          </p:grpSpPr>
          <p:sp>
            <p:nvSpPr>
              <p:cNvPr id="105" name="任意多边形 4">
                <a:extLst>
                  <a:ext uri="{FF2B5EF4-FFF2-40B4-BE49-F238E27FC236}">
                    <a16:creationId xmlns:a16="http://schemas.microsoft.com/office/drawing/2014/main" id="{A0E0F9E4-874A-D900-D2C6-7FD48A346832}"/>
                  </a:ext>
                </a:extLst>
              </p:cNvPr>
              <p:cNvSpPr/>
              <p:nvPr/>
            </p:nvSpPr>
            <p:spPr bwMode="auto">
              <a:xfrm>
                <a:off x="1129786" y="1396577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06" name="图片 105">
                <a:extLst>
                  <a:ext uri="{FF2B5EF4-FFF2-40B4-BE49-F238E27FC236}">
                    <a16:creationId xmlns:a16="http://schemas.microsoft.com/office/drawing/2014/main" id="{D0E56177-0E50-27F5-67B1-2779AF134B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200613" y="1951754"/>
                <a:ext cx="1255591" cy="513541"/>
              </a:xfrm>
              <a:prstGeom prst="rect">
                <a:avLst/>
              </a:prstGeom>
              <a:noFill/>
            </p:spPr>
          </p:pic>
        </p:grpSp>
      </p:grpSp>
      <p:grpSp>
        <p:nvGrpSpPr>
          <p:cNvPr id="135" name="组合 134">
            <a:extLst>
              <a:ext uri="{FF2B5EF4-FFF2-40B4-BE49-F238E27FC236}">
                <a16:creationId xmlns:a16="http://schemas.microsoft.com/office/drawing/2014/main" id="{68407C61-6B07-774D-686A-CC4FA8C796F5}"/>
              </a:ext>
            </a:extLst>
          </p:cNvPr>
          <p:cNvGrpSpPr/>
          <p:nvPr/>
        </p:nvGrpSpPr>
        <p:grpSpPr>
          <a:xfrm>
            <a:off x="414278" y="1719851"/>
            <a:ext cx="3631886" cy="3412773"/>
            <a:chOff x="151973" y="1307022"/>
            <a:chExt cx="2825287" cy="2687093"/>
          </a:xfrm>
        </p:grpSpPr>
        <p:sp>
          <p:nvSpPr>
            <p:cNvPr id="136" name="任意多边形 30">
              <a:extLst>
                <a:ext uri="{FF2B5EF4-FFF2-40B4-BE49-F238E27FC236}">
                  <a16:creationId xmlns:a16="http://schemas.microsoft.com/office/drawing/2014/main" id="{0A4B1073-344D-791A-BDEC-048F52E0201A}"/>
                </a:ext>
              </a:extLst>
            </p:cNvPr>
            <p:cNvSpPr/>
            <p:nvPr/>
          </p:nvSpPr>
          <p:spPr bwMode="auto">
            <a:xfrm>
              <a:off x="1126217" y="2172253"/>
              <a:ext cx="869822" cy="939665"/>
            </a:xfrm>
            <a:custGeom>
              <a:avLst/>
              <a:gdLst>
                <a:gd name="connsiteX0" fmla="*/ 0 w 4017518"/>
                <a:gd name="connsiteY0" fmla="*/ 1747621 h 3495241"/>
                <a:gd name="connsiteX1" fmla="*/ 873810 w 4017518"/>
                <a:gd name="connsiteY1" fmla="*/ 1 h 3495241"/>
                <a:gd name="connsiteX2" fmla="*/ 3143708 w 4017518"/>
                <a:gd name="connsiteY2" fmla="*/ 1 h 3495241"/>
                <a:gd name="connsiteX3" fmla="*/ 4017518 w 4017518"/>
                <a:gd name="connsiteY3" fmla="*/ 1747621 h 3495241"/>
                <a:gd name="connsiteX4" fmla="*/ 3143708 w 4017518"/>
                <a:gd name="connsiteY4" fmla="*/ 3495240 h 3495241"/>
                <a:gd name="connsiteX5" fmla="*/ 873810 w 4017518"/>
                <a:gd name="connsiteY5" fmla="*/ 3495240 h 3495241"/>
                <a:gd name="connsiteX6" fmla="*/ 0 w 4017518"/>
                <a:gd name="connsiteY6" fmla="*/ 1747621 h 349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17518" h="3495241">
                  <a:moveTo>
                    <a:pt x="2008758" y="0"/>
                  </a:moveTo>
                  <a:lnTo>
                    <a:pt x="4017516" y="760215"/>
                  </a:lnTo>
                  <a:lnTo>
                    <a:pt x="4017516" y="2735026"/>
                  </a:lnTo>
                  <a:lnTo>
                    <a:pt x="2008758" y="3495241"/>
                  </a:lnTo>
                  <a:lnTo>
                    <a:pt x="2" y="2735026"/>
                  </a:lnTo>
                  <a:lnTo>
                    <a:pt x="2" y="760215"/>
                  </a:lnTo>
                  <a:lnTo>
                    <a:pt x="2008758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5000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495300" dist="571500" dir="8100000" algn="tr" rotWithShape="0">
                <a:prstClr val="black">
                  <a:alpha val="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8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仪表</a:t>
              </a:r>
            </a:p>
          </p:txBody>
        </p:sp>
        <p:grpSp>
          <p:nvGrpSpPr>
            <p:cNvPr id="137" name="组合 136">
              <a:extLst>
                <a:ext uri="{FF2B5EF4-FFF2-40B4-BE49-F238E27FC236}">
                  <a16:creationId xmlns:a16="http://schemas.microsoft.com/office/drawing/2014/main" id="{1E51E77E-E647-B08D-4B67-060CA220B16B}"/>
                </a:ext>
              </a:extLst>
            </p:cNvPr>
            <p:cNvGrpSpPr/>
            <p:nvPr/>
          </p:nvGrpSpPr>
          <p:grpSpPr>
            <a:xfrm>
              <a:off x="622598" y="1307022"/>
              <a:ext cx="873646" cy="966985"/>
              <a:chOff x="1107110" y="1452425"/>
              <a:chExt cx="1397246" cy="1605507"/>
            </a:xfrm>
          </p:grpSpPr>
          <p:sp>
            <p:nvSpPr>
              <p:cNvPr id="153" name="任意多边形 4">
                <a:extLst>
                  <a:ext uri="{FF2B5EF4-FFF2-40B4-BE49-F238E27FC236}">
                    <a16:creationId xmlns:a16="http://schemas.microsoft.com/office/drawing/2014/main" id="{6E948AA3-09DC-2A3B-6B6D-517C5B99DB06}"/>
                  </a:ext>
                </a:extLst>
              </p:cNvPr>
              <p:cNvSpPr/>
              <p:nvPr/>
            </p:nvSpPr>
            <p:spPr bwMode="auto">
              <a:xfrm>
                <a:off x="1107110" y="1452425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54" name="图片 153">
                <a:extLst>
                  <a:ext uri="{FF2B5EF4-FFF2-40B4-BE49-F238E27FC236}">
                    <a16:creationId xmlns:a16="http://schemas.microsoft.com/office/drawing/2014/main" id="{4E04E8B3-ACF8-5FFC-EA87-DD5B1EDB4CB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64906" y="2064621"/>
                <a:ext cx="1249261" cy="355942"/>
              </a:xfrm>
              <a:prstGeom prst="rect">
                <a:avLst/>
              </a:prstGeom>
              <a:noFill/>
            </p:spPr>
          </p:pic>
        </p:grpSp>
        <p:grpSp>
          <p:nvGrpSpPr>
            <p:cNvPr id="138" name="组合 137">
              <a:extLst>
                <a:ext uri="{FF2B5EF4-FFF2-40B4-BE49-F238E27FC236}">
                  <a16:creationId xmlns:a16="http://schemas.microsoft.com/office/drawing/2014/main" id="{387E0F80-CB9F-0C8A-7F57-854A255ADCB7}"/>
                </a:ext>
              </a:extLst>
            </p:cNvPr>
            <p:cNvGrpSpPr/>
            <p:nvPr/>
          </p:nvGrpSpPr>
          <p:grpSpPr>
            <a:xfrm>
              <a:off x="1617997" y="1319823"/>
              <a:ext cx="873646" cy="966985"/>
              <a:chOff x="1058095" y="1442975"/>
              <a:chExt cx="1397246" cy="1605507"/>
            </a:xfrm>
          </p:grpSpPr>
          <p:sp>
            <p:nvSpPr>
              <p:cNvPr id="151" name="任意多边形 4">
                <a:extLst>
                  <a:ext uri="{FF2B5EF4-FFF2-40B4-BE49-F238E27FC236}">
                    <a16:creationId xmlns:a16="http://schemas.microsoft.com/office/drawing/2014/main" id="{5574CB48-51E4-F6E9-8745-B9861DB0FCAC}"/>
                  </a:ext>
                </a:extLst>
              </p:cNvPr>
              <p:cNvSpPr/>
              <p:nvPr/>
            </p:nvSpPr>
            <p:spPr bwMode="auto">
              <a:xfrm>
                <a:off x="1058095" y="1442975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52" name="图片 151">
                <a:extLst>
                  <a:ext uri="{FF2B5EF4-FFF2-40B4-BE49-F238E27FC236}">
                    <a16:creationId xmlns:a16="http://schemas.microsoft.com/office/drawing/2014/main" id="{9790F66F-A251-880A-B2C0-4F60B35F0F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10087" y="1961634"/>
                <a:ext cx="1246986" cy="492679"/>
              </a:xfrm>
              <a:prstGeom prst="rect">
                <a:avLst/>
              </a:prstGeom>
              <a:noFill/>
            </p:spPr>
          </p:pic>
        </p:grpSp>
        <p:grpSp>
          <p:nvGrpSpPr>
            <p:cNvPr id="139" name="组合 138">
              <a:extLst>
                <a:ext uri="{FF2B5EF4-FFF2-40B4-BE49-F238E27FC236}">
                  <a16:creationId xmlns:a16="http://schemas.microsoft.com/office/drawing/2014/main" id="{D747C604-68FE-4F34-C258-358F88BE38F0}"/>
                </a:ext>
              </a:extLst>
            </p:cNvPr>
            <p:cNvGrpSpPr/>
            <p:nvPr/>
          </p:nvGrpSpPr>
          <p:grpSpPr>
            <a:xfrm>
              <a:off x="2103614" y="2175345"/>
              <a:ext cx="873646" cy="966985"/>
              <a:chOff x="1064426" y="1411344"/>
              <a:chExt cx="1397246" cy="1605507"/>
            </a:xfrm>
          </p:grpSpPr>
          <p:sp>
            <p:nvSpPr>
              <p:cNvPr id="149" name="任意多边形 4">
                <a:extLst>
                  <a:ext uri="{FF2B5EF4-FFF2-40B4-BE49-F238E27FC236}">
                    <a16:creationId xmlns:a16="http://schemas.microsoft.com/office/drawing/2014/main" id="{6EA715B3-207B-627A-C59F-5063D78DA2D4}"/>
                  </a:ext>
                </a:extLst>
              </p:cNvPr>
              <p:cNvSpPr/>
              <p:nvPr/>
            </p:nvSpPr>
            <p:spPr bwMode="auto">
              <a:xfrm>
                <a:off x="1064426" y="1411344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50" name="图片 149">
                <a:extLst>
                  <a:ext uri="{FF2B5EF4-FFF2-40B4-BE49-F238E27FC236}">
                    <a16:creationId xmlns:a16="http://schemas.microsoft.com/office/drawing/2014/main" id="{823DD048-E810-E200-8741-64843869EC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48415" y="2022560"/>
                <a:ext cx="1241489" cy="362839"/>
              </a:xfrm>
              <a:prstGeom prst="rect">
                <a:avLst/>
              </a:prstGeom>
              <a:noFill/>
            </p:spPr>
          </p:pic>
        </p:grpSp>
        <p:grpSp>
          <p:nvGrpSpPr>
            <p:cNvPr id="140" name="组合 139">
              <a:extLst>
                <a:ext uri="{FF2B5EF4-FFF2-40B4-BE49-F238E27FC236}">
                  <a16:creationId xmlns:a16="http://schemas.microsoft.com/office/drawing/2014/main" id="{BE869174-BE49-24D3-6516-9AC672CA4E84}"/>
                </a:ext>
              </a:extLst>
            </p:cNvPr>
            <p:cNvGrpSpPr/>
            <p:nvPr/>
          </p:nvGrpSpPr>
          <p:grpSpPr>
            <a:xfrm>
              <a:off x="1612375" y="3027130"/>
              <a:ext cx="873646" cy="966985"/>
              <a:chOff x="1070168" y="1375386"/>
              <a:chExt cx="1397246" cy="1605507"/>
            </a:xfrm>
          </p:grpSpPr>
          <p:sp>
            <p:nvSpPr>
              <p:cNvPr id="147" name="任意多边形 4">
                <a:extLst>
                  <a:ext uri="{FF2B5EF4-FFF2-40B4-BE49-F238E27FC236}">
                    <a16:creationId xmlns:a16="http://schemas.microsoft.com/office/drawing/2014/main" id="{C3CBD8EE-C935-795F-A5AA-23A01717365D}"/>
                  </a:ext>
                </a:extLst>
              </p:cNvPr>
              <p:cNvSpPr/>
              <p:nvPr/>
            </p:nvSpPr>
            <p:spPr bwMode="auto">
              <a:xfrm>
                <a:off x="1070168" y="1375386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48" name="图片 147">
                <a:extLst>
                  <a:ext uri="{FF2B5EF4-FFF2-40B4-BE49-F238E27FC236}">
                    <a16:creationId xmlns:a16="http://schemas.microsoft.com/office/drawing/2014/main" id="{B4C9C0A5-189D-7901-8399-2620152CC8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40912" y="1934409"/>
                <a:ext cx="1255758" cy="461009"/>
              </a:xfrm>
              <a:prstGeom prst="rect">
                <a:avLst/>
              </a:prstGeom>
              <a:noFill/>
            </p:spPr>
          </p:pic>
        </p:grpSp>
        <p:grpSp>
          <p:nvGrpSpPr>
            <p:cNvPr id="141" name="组合 140">
              <a:extLst>
                <a:ext uri="{FF2B5EF4-FFF2-40B4-BE49-F238E27FC236}">
                  <a16:creationId xmlns:a16="http://schemas.microsoft.com/office/drawing/2014/main" id="{732B1B61-C2CB-7583-F0D9-D72B1CB0D95B}"/>
                </a:ext>
              </a:extLst>
            </p:cNvPr>
            <p:cNvGrpSpPr/>
            <p:nvPr/>
          </p:nvGrpSpPr>
          <p:grpSpPr>
            <a:xfrm>
              <a:off x="151973" y="2160970"/>
              <a:ext cx="873646" cy="966985"/>
              <a:chOff x="1204427" y="1433692"/>
              <a:chExt cx="1397246" cy="1605507"/>
            </a:xfrm>
          </p:grpSpPr>
          <p:sp>
            <p:nvSpPr>
              <p:cNvPr id="145" name="任意多边形 4">
                <a:extLst>
                  <a:ext uri="{FF2B5EF4-FFF2-40B4-BE49-F238E27FC236}">
                    <a16:creationId xmlns:a16="http://schemas.microsoft.com/office/drawing/2014/main" id="{41799B3D-A055-C0DB-8B42-3A063AE89AE4}"/>
                  </a:ext>
                </a:extLst>
              </p:cNvPr>
              <p:cNvSpPr/>
              <p:nvPr/>
            </p:nvSpPr>
            <p:spPr bwMode="auto">
              <a:xfrm>
                <a:off x="1204427" y="1433692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46" name="图片 145">
                <a:extLst>
                  <a:ext uri="{FF2B5EF4-FFF2-40B4-BE49-F238E27FC236}">
                    <a16:creationId xmlns:a16="http://schemas.microsoft.com/office/drawing/2014/main" id="{F0B019A2-12A2-88FC-F9A6-D76EC1BAD3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255499" y="2017054"/>
                <a:ext cx="1295100" cy="368740"/>
              </a:xfrm>
              <a:prstGeom prst="rect">
                <a:avLst/>
              </a:prstGeom>
              <a:noFill/>
            </p:spPr>
          </p:pic>
        </p:grpSp>
        <p:grpSp>
          <p:nvGrpSpPr>
            <p:cNvPr id="142" name="组合 141">
              <a:extLst>
                <a:ext uri="{FF2B5EF4-FFF2-40B4-BE49-F238E27FC236}">
                  <a16:creationId xmlns:a16="http://schemas.microsoft.com/office/drawing/2014/main" id="{674042E5-FD16-BA8F-23EE-EFD2AFC920C0}"/>
                </a:ext>
              </a:extLst>
            </p:cNvPr>
            <p:cNvGrpSpPr/>
            <p:nvPr/>
          </p:nvGrpSpPr>
          <p:grpSpPr>
            <a:xfrm>
              <a:off x="636776" y="3003846"/>
              <a:ext cx="873646" cy="966985"/>
              <a:chOff x="1129786" y="1396577"/>
              <a:chExt cx="1397246" cy="1605507"/>
            </a:xfrm>
          </p:grpSpPr>
          <p:sp>
            <p:nvSpPr>
              <p:cNvPr id="143" name="任意多边形 4">
                <a:extLst>
                  <a:ext uri="{FF2B5EF4-FFF2-40B4-BE49-F238E27FC236}">
                    <a16:creationId xmlns:a16="http://schemas.microsoft.com/office/drawing/2014/main" id="{11FEB898-2A1D-F07E-BEDD-872B77294509}"/>
                  </a:ext>
                </a:extLst>
              </p:cNvPr>
              <p:cNvSpPr/>
              <p:nvPr/>
            </p:nvSpPr>
            <p:spPr bwMode="auto">
              <a:xfrm>
                <a:off x="1129786" y="1396577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44" name="图片 143">
                <a:extLst>
                  <a:ext uri="{FF2B5EF4-FFF2-40B4-BE49-F238E27FC236}">
                    <a16:creationId xmlns:a16="http://schemas.microsoft.com/office/drawing/2014/main" id="{AE6608C2-41D5-C69D-52C7-EDCBFA7ABA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237404" y="1970609"/>
                <a:ext cx="1159075" cy="424589"/>
              </a:xfrm>
              <a:prstGeom prst="rect">
                <a:avLst/>
              </a:prstGeom>
              <a:noFill/>
            </p:spPr>
          </p:pic>
        </p:grpSp>
      </p:grpSp>
      <p:grpSp>
        <p:nvGrpSpPr>
          <p:cNvPr id="155" name="组合 154">
            <a:extLst>
              <a:ext uri="{FF2B5EF4-FFF2-40B4-BE49-F238E27FC236}">
                <a16:creationId xmlns:a16="http://schemas.microsoft.com/office/drawing/2014/main" id="{1C8BB5BE-C1E3-B65F-324A-3E7E03353DDE}"/>
              </a:ext>
            </a:extLst>
          </p:cNvPr>
          <p:cNvGrpSpPr/>
          <p:nvPr/>
        </p:nvGrpSpPr>
        <p:grpSpPr>
          <a:xfrm>
            <a:off x="8159507" y="1750681"/>
            <a:ext cx="3631886" cy="3412773"/>
            <a:chOff x="151973" y="1307022"/>
            <a:chExt cx="2825287" cy="2687093"/>
          </a:xfrm>
        </p:grpSpPr>
        <p:sp>
          <p:nvSpPr>
            <p:cNvPr id="156" name="任意多边形 30">
              <a:extLst>
                <a:ext uri="{FF2B5EF4-FFF2-40B4-BE49-F238E27FC236}">
                  <a16:creationId xmlns:a16="http://schemas.microsoft.com/office/drawing/2014/main" id="{21FCFB37-86CB-3A1D-E741-8081FBD5AF87}"/>
                </a:ext>
              </a:extLst>
            </p:cNvPr>
            <p:cNvSpPr/>
            <p:nvPr/>
          </p:nvSpPr>
          <p:spPr bwMode="auto">
            <a:xfrm>
              <a:off x="1126217" y="2172253"/>
              <a:ext cx="869822" cy="939665"/>
            </a:xfrm>
            <a:custGeom>
              <a:avLst/>
              <a:gdLst>
                <a:gd name="connsiteX0" fmla="*/ 0 w 4017518"/>
                <a:gd name="connsiteY0" fmla="*/ 1747621 h 3495241"/>
                <a:gd name="connsiteX1" fmla="*/ 873810 w 4017518"/>
                <a:gd name="connsiteY1" fmla="*/ 1 h 3495241"/>
                <a:gd name="connsiteX2" fmla="*/ 3143708 w 4017518"/>
                <a:gd name="connsiteY2" fmla="*/ 1 h 3495241"/>
                <a:gd name="connsiteX3" fmla="*/ 4017518 w 4017518"/>
                <a:gd name="connsiteY3" fmla="*/ 1747621 h 3495241"/>
                <a:gd name="connsiteX4" fmla="*/ 3143708 w 4017518"/>
                <a:gd name="connsiteY4" fmla="*/ 3495240 h 3495241"/>
                <a:gd name="connsiteX5" fmla="*/ 873810 w 4017518"/>
                <a:gd name="connsiteY5" fmla="*/ 3495240 h 3495241"/>
                <a:gd name="connsiteX6" fmla="*/ 0 w 4017518"/>
                <a:gd name="connsiteY6" fmla="*/ 1747621 h 349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17518" h="3495241">
                  <a:moveTo>
                    <a:pt x="2008758" y="0"/>
                  </a:moveTo>
                  <a:lnTo>
                    <a:pt x="4017516" y="760215"/>
                  </a:lnTo>
                  <a:lnTo>
                    <a:pt x="4017516" y="2735026"/>
                  </a:lnTo>
                  <a:lnTo>
                    <a:pt x="2008758" y="3495241"/>
                  </a:lnTo>
                  <a:lnTo>
                    <a:pt x="2" y="2735026"/>
                  </a:lnTo>
                  <a:lnTo>
                    <a:pt x="2" y="760215"/>
                  </a:lnTo>
                  <a:lnTo>
                    <a:pt x="2008758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50000">
                  <a:srgbClr val="00B0F0">
                    <a:shade val="675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2700000" scaled="1"/>
              <a:tileRect/>
            </a:gradFill>
            <a:ln>
              <a:noFill/>
            </a:ln>
            <a:effectLst>
              <a:outerShdw blurRad="495300" dist="571500" dir="8100000" algn="tr" rotWithShape="0">
                <a:prstClr val="black">
                  <a:alpha val="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4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其它</a:t>
              </a:r>
            </a:p>
          </p:txBody>
        </p:sp>
        <p:grpSp>
          <p:nvGrpSpPr>
            <p:cNvPr id="157" name="组合 156">
              <a:extLst>
                <a:ext uri="{FF2B5EF4-FFF2-40B4-BE49-F238E27FC236}">
                  <a16:creationId xmlns:a16="http://schemas.microsoft.com/office/drawing/2014/main" id="{7C6DB818-6B2F-FF78-1917-A3EA2E6FBF23}"/>
                </a:ext>
              </a:extLst>
            </p:cNvPr>
            <p:cNvGrpSpPr/>
            <p:nvPr/>
          </p:nvGrpSpPr>
          <p:grpSpPr>
            <a:xfrm>
              <a:off x="622598" y="1307022"/>
              <a:ext cx="873646" cy="966985"/>
              <a:chOff x="1107110" y="1452425"/>
              <a:chExt cx="1397246" cy="1605507"/>
            </a:xfrm>
          </p:grpSpPr>
          <p:sp>
            <p:nvSpPr>
              <p:cNvPr id="173" name="任意多边形 4">
                <a:extLst>
                  <a:ext uri="{FF2B5EF4-FFF2-40B4-BE49-F238E27FC236}">
                    <a16:creationId xmlns:a16="http://schemas.microsoft.com/office/drawing/2014/main" id="{9B38BD77-6648-41E3-CCC2-901C8DDF30DE}"/>
                  </a:ext>
                </a:extLst>
              </p:cNvPr>
              <p:cNvSpPr/>
              <p:nvPr/>
            </p:nvSpPr>
            <p:spPr bwMode="auto">
              <a:xfrm>
                <a:off x="1107110" y="1452425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74" name="图片 173">
                <a:extLst>
                  <a:ext uri="{FF2B5EF4-FFF2-40B4-BE49-F238E27FC236}">
                    <a16:creationId xmlns:a16="http://schemas.microsoft.com/office/drawing/2014/main" id="{4C49E34D-EC31-1B09-BC67-17F259490B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screen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62258" y="2017832"/>
                <a:ext cx="1295100" cy="443380"/>
              </a:xfrm>
              <a:prstGeom prst="rect">
                <a:avLst/>
              </a:prstGeom>
              <a:noFill/>
            </p:spPr>
          </p:pic>
        </p:grpSp>
        <p:grpSp>
          <p:nvGrpSpPr>
            <p:cNvPr id="158" name="组合 157">
              <a:extLst>
                <a:ext uri="{FF2B5EF4-FFF2-40B4-BE49-F238E27FC236}">
                  <a16:creationId xmlns:a16="http://schemas.microsoft.com/office/drawing/2014/main" id="{C6A9E0B3-3A83-6705-C8FD-5D8AD8D383F9}"/>
                </a:ext>
              </a:extLst>
            </p:cNvPr>
            <p:cNvGrpSpPr/>
            <p:nvPr/>
          </p:nvGrpSpPr>
          <p:grpSpPr>
            <a:xfrm>
              <a:off x="1617997" y="1319823"/>
              <a:ext cx="873646" cy="966985"/>
              <a:chOff x="1058095" y="1442975"/>
              <a:chExt cx="1397246" cy="1605507"/>
            </a:xfrm>
          </p:grpSpPr>
          <p:sp>
            <p:nvSpPr>
              <p:cNvPr id="171" name="任意多边形 4">
                <a:extLst>
                  <a:ext uri="{FF2B5EF4-FFF2-40B4-BE49-F238E27FC236}">
                    <a16:creationId xmlns:a16="http://schemas.microsoft.com/office/drawing/2014/main" id="{62EF8597-47DB-A20E-483D-BEAFC118EA68}"/>
                  </a:ext>
                </a:extLst>
              </p:cNvPr>
              <p:cNvSpPr/>
              <p:nvPr/>
            </p:nvSpPr>
            <p:spPr bwMode="auto">
              <a:xfrm>
                <a:off x="1058095" y="1442975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72" name="图片 171">
                <a:extLst>
                  <a:ext uri="{FF2B5EF4-FFF2-40B4-BE49-F238E27FC236}">
                    <a16:creationId xmlns:a16="http://schemas.microsoft.com/office/drawing/2014/main" id="{4A2CF724-6DD8-F144-96C6-5EB9921821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09167" y="2041840"/>
                <a:ext cx="1295101" cy="411426"/>
              </a:xfrm>
              <a:prstGeom prst="rect">
                <a:avLst/>
              </a:prstGeom>
              <a:noFill/>
            </p:spPr>
          </p:pic>
        </p:grpSp>
        <p:grpSp>
          <p:nvGrpSpPr>
            <p:cNvPr id="159" name="组合 158">
              <a:extLst>
                <a:ext uri="{FF2B5EF4-FFF2-40B4-BE49-F238E27FC236}">
                  <a16:creationId xmlns:a16="http://schemas.microsoft.com/office/drawing/2014/main" id="{F43BC916-03AB-295C-AFDF-E9DF83E535E2}"/>
                </a:ext>
              </a:extLst>
            </p:cNvPr>
            <p:cNvGrpSpPr/>
            <p:nvPr/>
          </p:nvGrpSpPr>
          <p:grpSpPr>
            <a:xfrm>
              <a:off x="2103614" y="2175345"/>
              <a:ext cx="873646" cy="966985"/>
              <a:chOff x="1064426" y="1411344"/>
              <a:chExt cx="1397246" cy="1605507"/>
            </a:xfrm>
          </p:grpSpPr>
          <p:sp>
            <p:nvSpPr>
              <p:cNvPr id="169" name="任意多边形 4">
                <a:extLst>
                  <a:ext uri="{FF2B5EF4-FFF2-40B4-BE49-F238E27FC236}">
                    <a16:creationId xmlns:a16="http://schemas.microsoft.com/office/drawing/2014/main" id="{E8EDDD13-5CA6-C908-813A-3ADCE59141C2}"/>
                  </a:ext>
                </a:extLst>
              </p:cNvPr>
              <p:cNvSpPr/>
              <p:nvPr/>
            </p:nvSpPr>
            <p:spPr bwMode="auto">
              <a:xfrm>
                <a:off x="1064426" y="1411344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70" name="图片 169">
                <a:extLst>
                  <a:ext uri="{FF2B5EF4-FFF2-40B4-BE49-F238E27FC236}">
                    <a16:creationId xmlns:a16="http://schemas.microsoft.com/office/drawing/2014/main" id="{63665BFD-C344-D823-7986-9D495ADD6F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43099" y="1960076"/>
                <a:ext cx="1283160" cy="436994"/>
              </a:xfrm>
              <a:prstGeom prst="rect">
                <a:avLst/>
              </a:prstGeom>
              <a:noFill/>
            </p:spPr>
          </p:pic>
        </p:grpSp>
        <p:grpSp>
          <p:nvGrpSpPr>
            <p:cNvPr id="160" name="组合 159">
              <a:extLst>
                <a:ext uri="{FF2B5EF4-FFF2-40B4-BE49-F238E27FC236}">
                  <a16:creationId xmlns:a16="http://schemas.microsoft.com/office/drawing/2014/main" id="{9D9AF734-DD29-5F35-75A0-823ED05D6E29}"/>
                </a:ext>
              </a:extLst>
            </p:cNvPr>
            <p:cNvGrpSpPr/>
            <p:nvPr/>
          </p:nvGrpSpPr>
          <p:grpSpPr>
            <a:xfrm>
              <a:off x="1612375" y="3027130"/>
              <a:ext cx="873646" cy="966985"/>
              <a:chOff x="1070168" y="1375386"/>
              <a:chExt cx="1397246" cy="1605507"/>
            </a:xfrm>
          </p:grpSpPr>
          <p:sp>
            <p:nvSpPr>
              <p:cNvPr id="167" name="任意多边形 4">
                <a:extLst>
                  <a:ext uri="{FF2B5EF4-FFF2-40B4-BE49-F238E27FC236}">
                    <a16:creationId xmlns:a16="http://schemas.microsoft.com/office/drawing/2014/main" id="{4560B4A9-80E5-584D-4A2C-D0F18D7041F9}"/>
                  </a:ext>
                </a:extLst>
              </p:cNvPr>
              <p:cNvSpPr/>
              <p:nvPr/>
            </p:nvSpPr>
            <p:spPr bwMode="auto">
              <a:xfrm>
                <a:off x="1070168" y="1375386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68" name="图片 167">
                <a:extLst>
                  <a:ext uri="{FF2B5EF4-FFF2-40B4-BE49-F238E27FC236}">
                    <a16:creationId xmlns:a16="http://schemas.microsoft.com/office/drawing/2014/main" id="{524D9180-EA5D-29F9-C5DB-E239591EFB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149902" y="1964822"/>
                <a:ext cx="1255758" cy="373034"/>
              </a:xfrm>
              <a:prstGeom prst="rect">
                <a:avLst/>
              </a:prstGeom>
              <a:noFill/>
            </p:spPr>
          </p:pic>
        </p:grpSp>
        <p:grpSp>
          <p:nvGrpSpPr>
            <p:cNvPr id="161" name="组合 160">
              <a:extLst>
                <a:ext uri="{FF2B5EF4-FFF2-40B4-BE49-F238E27FC236}">
                  <a16:creationId xmlns:a16="http://schemas.microsoft.com/office/drawing/2014/main" id="{22414A4B-F836-26D0-9CBE-FBCB312A05A8}"/>
                </a:ext>
              </a:extLst>
            </p:cNvPr>
            <p:cNvGrpSpPr/>
            <p:nvPr/>
          </p:nvGrpSpPr>
          <p:grpSpPr>
            <a:xfrm>
              <a:off x="151973" y="2160970"/>
              <a:ext cx="873646" cy="966985"/>
              <a:chOff x="1204427" y="1433692"/>
              <a:chExt cx="1397246" cy="1605507"/>
            </a:xfrm>
          </p:grpSpPr>
          <p:sp>
            <p:nvSpPr>
              <p:cNvPr id="165" name="任意多边形 4">
                <a:extLst>
                  <a:ext uri="{FF2B5EF4-FFF2-40B4-BE49-F238E27FC236}">
                    <a16:creationId xmlns:a16="http://schemas.microsoft.com/office/drawing/2014/main" id="{968167C1-3A57-FA16-D7E0-337AA8387AA7}"/>
                  </a:ext>
                </a:extLst>
              </p:cNvPr>
              <p:cNvSpPr/>
              <p:nvPr/>
            </p:nvSpPr>
            <p:spPr bwMode="auto">
              <a:xfrm>
                <a:off x="1204427" y="1433692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66" name="图片 165">
                <a:extLst>
                  <a:ext uri="{FF2B5EF4-FFF2-40B4-BE49-F238E27FC236}">
                    <a16:creationId xmlns:a16="http://schemas.microsoft.com/office/drawing/2014/main" id="{97634A18-4786-0265-5A02-D539F16D4C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284750" y="1966890"/>
                <a:ext cx="1236601" cy="476396"/>
              </a:xfrm>
              <a:prstGeom prst="rect">
                <a:avLst/>
              </a:prstGeom>
              <a:noFill/>
            </p:spPr>
          </p:pic>
        </p:grpSp>
        <p:grpSp>
          <p:nvGrpSpPr>
            <p:cNvPr id="162" name="组合 161">
              <a:extLst>
                <a:ext uri="{FF2B5EF4-FFF2-40B4-BE49-F238E27FC236}">
                  <a16:creationId xmlns:a16="http://schemas.microsoft.com/office/drawing/2014/main" id="{DB1C252A-07F7-217F-0F16-26B6A76BCD74}"/>
                </a:ext>
              </a:extLst>
            </p:cNvPr>
            <p:cNvGrpSpPr/>
            <p:nvPr/>
          </p:nvGrpSpPr>
          <p:grpSpPr>
            <a:xfrm>
              <a:off x="636776" y="3003846"/>
              <a:ext cx="873646" cy="966985"/>
              <a:chOff x="1129786" y="1396577"/>
              <a:chExt cx="1397246" cy="1605507"/>
            </a:xfrm>
          </p:grpSpPr>
          <p:sp>
            <p:nvSpPr>
              <p:cNvPr id="163" name="任意多边形 4">
                <a:extLst>
                  <a:ext uri="{FF2B5EF4-FFF2-40B4-BE49-F238E27FC236}">
                    <a16:creationId xmlns:a16="http://schemas.microsoft.com/office/drawing/2014/main" id="{B115B9CD-C850-9D61-27CF-1ADA230A9856}"/>
                  </a:ext>
                </a:extLst>
              </p:cNvPr>
              <p:cNvSpPr/>
              <p:nvPr/>
            </p:nvSpPr>
            <p:spPr bwMode="auto">
              <a:xfrm>
                <a:off x="1129786" y="1396577"/>
                <a:ext cx="1397246" cy="1605507"/>
              </a:xfrm>
              <a:custGeom>
                <a:avLst/>
                <a:gdLst>
                  <a:gd name="connsiteX0" fmla="*/ 0 w 4017518"/>
                  <a:gd name="connsiteY0" fmla="*/ 1747621 h 3495241"/>
                  <a:gd name="connsiteX1" fmla="*/ 873810 w 4017518"/>
                  <a:gd name="connsiteY1" fmla="*/ 1 h 3495241"/>
                  <a:gd name="connsiteX2" fmla="*/ 3143708 w 4017518"/>
                  <a:gd name="connsiteY2" fmla="*/ 1 h 3495241"/>
                  <a:gd name="connsiteX3" fmla="*/ 4017518 w 4017518"/>
                  <a:gd name="connsiteY3" fmla="*/ 1747621 h 3495241"/>
                  <a:gd name="connsiteX4" fmla="*/ 3143708 w 4017518"/>
                  <a:gd name="connsiteY4" fmla="*/ 3495240 h 3495241"/>
                  <a:gd name="connsiteX5" fmla="*/ 873810 w 4017518"/>
                  <a:gd name="connsiteY5" fmla="*/ 3495240 h 3495241"/>
                  <a:gd name="connsiteX6" fmla="*/ 0 w 4017518"/>
                  <a:gd name="connsiteY6" fmla="*/ 1747621 h 3495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17518" h="3495241">
                    <a:moveTo>
                      <a:pt x="2008758" y="0"/>
                    </a:moveTo>
                    <a:lnTo>
                      <a:pt x="4017516" y="760215"/>
                    </a:lnTo>
                    <a:lnTo>
                      <a:pt x="4017516" y="2735026"/>
                    </a:lnTo>
                    <a:lnTo>
                      <a:pt x="2008758" y="3495241"/>
                    </a:lnTo>
                    <a:lnTo>
                      <a:pt x="2" y="2735026"/>
                    </a:lnTo>
                    <a:lnTo>
                      <a:pt x="2" y="760215"/>
                    </a:lnTo>
                    <a:lnTo>
                      <a:pt x="2008758" y="0"/>
                    </a:lnTo>
                    <a:close/>
                  </a:path>
                </a:pathLst>
              </a:custGeom>
              <a:noFill/>
              <a:ln w="63500">
                <a:solidFill>
                  <a:srgbClr val="1194DD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dirty="0"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64" name="图片 163">
                <a:extLst>
                  <a:ext uri="{FF2B5EF4-FFF2-40B4-BE49-F238E27FC236}">
                    <a16:creationId xmlns:a16="http://schemas.microsoft.com/office/drawing/2014/main" id="{DFE8302F-956B-22D3-E5E2-39DB0CA55E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222799" y="1948157"/>
                <a:ext cx="1190787" cy="457709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2041923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2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6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250"/>
                            </p:stCondLst>
                            <p:childTnLst>
                              <p:par>
                                <p:cTn id="18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20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1"/>
          <p:cNvSpPr>
            <a:spLocks noChangeArrowheads="1"/>
          </p:cNvSpPr>
          <p:nvPr/>
        </p:nvSpPr>
        <p:spPr bwMode="auto">
          <a:xfrm>
            <a:off x="4576641" y="404858"/>
            <a:ext cx="21666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6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客户结构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0D10C72-737F-95C0-07FD-7CBD68A1FA5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2878" y="1340768"/>
            <a:ext cx="5715042" cy="434852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文本框 1"/>
          <p:cNvSpPr>
            <a:spLocks noChangeArrowheads="1"/>
          </p:cNvSpPr>
          <p:nvPr/>
        </p:nvSpPr>
        <p:spPr bwMode="auto">
          <a:xfrm>
            <a:off x="4726836" y="404858"/>
            <a:ext cx="252049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6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我们的优势</a:t>
            </a:r>
          </a:p>
        </p:txBody>
      </p:sp>
      <p:grpSp>
        <p:nvGrpSpPr>
          <p:cNvPr id="193" name="组合 192">
            <a:extLst>
              <a:ext uri="{FF2B5EF4-FFF2-40B4-BE49-F238E27FC236}">
                <a16:creationId xmlns:a16="http://schemas.microsoft.com/office/drawing/2014/main" id="{88948BEC-711F-9080-6E9E-AC1E73E2408A}"/>
              </a:ext>
            </a:extLst>
          </p:cNvPr>
          <p:cNvGrpSpPr/>
          <p:nvPr/>
        </p:nvGrpSpPr>
        <p:grpSpPr>
          <a:xfrm>
            <a:off x="690625" y="1617837"/>
            <a:ext cx="11391258" cy="3970966"/>
            <a:chOff x="1020999" y="1712456"/>
            <a:chExt cx="11391258" cy="3970966"/>
          </a:xfrm>
        </p:grpSpPr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87C53888-3D85-48B7-ACB7-A6C434DF64B9}"/>
                </a:ext>
              </a:extLst>
            </p:cNvPr>
            <p:cNvGrpSpPr/>
            <p:nvPr/>
          </p:nvGrpSpPr>
          <p:grpSpPr>
            <a:xfrm>
              <a:off x="4683308" y="1712456"/>
              <a:ext cx="3552402" cy="3753508"/>
              <a:chOff x="3835400" y="1454150"/>
              <a:chExt cx="4519614" cy="4546600"/>
            </a:xfrm>
          </p:grpSpPr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ABB937E6-65DD-7FC9-A04E-AC846EA30114}"/>
                  </a:ext>
                </a:extLst>
              </p:cNvPr>
              <p:cNvSpPr/>
              <p:nvPr/>
            </p:nvSpPr>
            <p:spPr bwMode="auto">
              <a:xfrm>
                <a:off x="3835400" y="3727450"/>
                <a:ext cx="3340100" cy="2273300"/>
              </a:xfrm>
              <a:custGeom>
                <a:avLst/>
                <a:gdLst>
                  <a:gd name="T0" fmla="*/ 1218 w 1800"/>
                  <a:gd name="T1" fmla="*/ 552 h 1225"/>
                  <a:gd name="T2" fmla="*/ 1132 w 1800"/>
                  <a:gd name="T3" fmla="*/ 545 h 1225"/>
                  <a:gd name="T4" fmla="*/ 900 w 1800"/>
                  <a:gd name="T5" fmla="*/ 575 h 1225"/>
                  <a:gd name="T6" fmla="*/ 60 w 1800"/>
                  <a:gd name="T7" fmla="*/ 0 h 1225"/>
                  <a:gd name="T8" fmla="*/ 0 w 1800"/>
                  <a:gd name="T9" fmla="*/ 325 h 1225"/>
                  <a:gd name="T10" fmla="*/ 900 w 1800"/>
                  <a:gd name="T11" fmla="*/ 1225 h 1225"/>
                  <a:gd name="T12" fmla="*/ 1800 w 1800"/>
                  <a:gd name="T13" fmla="*/ 325 h 1225"/>
                  <a:gd name="T14" fmla="*/ 1765 w 1800"/>
                  <a:gd name="T15" fmla="*/ 73 h 1225"/>
                  <a:gd name="T16" fmla="*/ 1218 w 1800"/>
                  <a:gd name="T17" fmla="*/ 552 h 1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00" h="1225">
                    <a:moveTo>
                      <a:pt x="1218" y="552"/>
                    </a:moveTo>
                    <a:cubicBezTo>
                      <a:pt x="1188" y="552"/>
                      <a:pt x="1160" y="550"/>
                      <a:pt x="1132" y="545"/>
                    </a:cubicBezTo>
                    <a:cubicBezTo>
                      <a:pt x="1058" y="565"/>
                      <a:pt x="980" y="575"/>
                      <a:pt x="900" y="575"/>
                    </a:cubicBezTo>
                    <a:cubicBezTo>
                      <a:pt x="517" y="575"/>
                      <a:pt x="191" y="337"/>
                      <a:pt x="60" y="0"/>
                    </a:cubicBezTo>
                    <a:cubicBezTo>
                      <a:pt x="21" y="101"/>
                      <a:pt x="0" y="210"/>
                      <a:pt x="0" y="325"/>
                    </a:cubicBezTo>
                    <a:cubicBezTo>
                      <a:pt x="0" y="822"/>
                      <a:pt x="403" y="1225"/>
                      <a:pt x="900" y="1225"/>
                    </a:cubicBezTo>
                    <a:cubicBezTo>
                      <a:pt x="1397" y="1225"/>
                      <a:pt x="1800" y="822"/>
                      <a:pt x="1800" y="325"/>
                    </a:cubicBezTo>
                    <a:cubicBezTo>
                      <a:pt x="1800" y="238"/>
                      <a:pt x="1788" y="153"/>
                      <a:pt x="1765" y="73"/>
                    </a:cubicBezTo>
                    <a:cubicBezTo>
                      <a:pt x="1729" y="343"/>
                      <a:pt x="1498" y="552"/>
                      <a:pt x="1218" y="552"/>
                    </a:cubicBez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0" tIns="648000" rIns="0" bIns="45720" numCol="1" anchor="ctr" anchorCtr="1" compatLnSpc="1">
                <a:prstTxWarp prst="textNoShape">
                  <a:avLst/>
                </a:prstTxWarp>
              </a:bodyPr>
              <a:lstStyle/>
              <a:p>
                <a:r>
                  <a:rPr lang="en-US" altLang="zh-CN" sz="2400" b="1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04</a:t>
                </a:r>
                <a:endParaRPr lang="zh-CN" altLang="en-US" sz="2400" b="1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13E82BA0-7698-9698-C1A7-9988281900BD}"/>
                  </a:ext>
                </a:extLst>
              </p:cNvPr>
              <p:cNvSpPr/>
              <p:nvPr/>
            </p:nvSpPr>
            <p:spPr bwMode="auto">
              <a:xfrm>
                <a:off x="6096000" y="2660650"/>
                <a:ext cx="2259013" cy="3340100"/>
              </a:xfrm>
              <a:custGeom>
                <a:avLst/>
                <a:gdLst>
                  <a:gd name="T0" fmla="*/ 317 w 1217"/>
                  <a:gd name="T1" fmla="*/ 0 h 1800"/>
                  <a:gd name="T2" fmla="*/ 85 w 1217"/>
                  <a:gd name="T3" fmla="*/ 30 h 1800"/>
                  <a:gd name="T4" fmla="*/ 551 w 1217"/>
                  <a:gd name="T5" fmla="*/ 575 h 1800"/>
                  <a:gd name="T6" fmla="*/ 547 w 1217"/>
                  <a:gd name="T7" fmla="*/ 648 h 1800"/>
                  <a:gd name="T8" fmla="*/ 582 w 1217"/>
                  <a:gd name="T9" fmla="*/ 900 h 1800"/>
                  <a:gd name="T10" fmla="*/ 0 w 1217"/>
                  <a:gd name="T11" fmla="*/ 1743 h 1800"/>
                  <a:gd name="T12" fmla="*/ 317 w 1217"/>
                  <a:gd name="T13" fmla="*/ 1800 h 1800"/>
                  <a:gd name="T14" fmla="*/ 1217 w 1217"/>
                  <a:gd name="T15" fmla="*/ 900 h 1800"/>
                  <a:gd name="T16" fmla="*/ 317 w 1217"/>
                  <a:gd name="T17" fmla="*/ 0 h 1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17" h="1800">
                    <a:moveTo>
                      <a:pt x="317" y="0"/>
                    </a:moveTo>
                    <a:cubicBezTo>
                      <a:pt x="237" y="0"/>
                      <a:pt x="159" y="10"/>
                      <a:pt x="85" y="30"/>
                    </a:cubicBezTo>
                    <a:cubicBezTo>
                      <a:pt x="349" y="71"/>
                      <a:pt x="551" y="299"/>
                      <a:pt x="551" y="575"/>
                    </a:cubicBezTo>
                    <a:cubicBezTo>
                      <a:pt x="551" y="600"/>
                      <a:pt x="550" y="624"/>
                      <a:pt x="547" y="648"/>
                    </a:cubicBezTo>
                    <a:cubicBezTo>
                      <a:pt x="570" y="728"/>
                      <a:pt x="582" y="813"/>
                      <a:pt x="582" y="900"/>
                    </a:cubicBezTo>
                    <a:cubicBezTo>
                      <a:pt x="582" y="1286"/>
                      <a:pt x="340" y="1614"/>
                      <a:pt x="0" y="1743"/>
                    </a:cubicBezTo>
                    <a:cubicBezTo>
                      <a:pt x="98" y="1780"/>
                      <a:pt x="205" y="1800"/>
                      <a:pt x="317" y="1800"/>
                    </a:cubicBezTo>
                    <a:cubicBezTo>
                      <a:pt x="814" y="1800"/>
                      <a:pt x="1217" y="1397"/>
                      <a:pt x="1217" y="900"/>
                    </a:cubicBezTo>
                    <a:cubicBezTo>
                      <a:pt x="1217" y="403"/>
                      <a:pt x="814" y="0"/>
                      <a:pt x="317" y="0"/>
                    </a:cubicBezTo>
                    <a:close/>
                  </a:path>
                </a:pathLst>
              </a:custGeom>
              <a:solidFill>
                <a:srgbClr val="1194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76000" tIns="45720" rIns="91440" bIns="45720" numCol="1" anchor="ctr" anchorCtr="1" compatLnSpc="1">
                <a:prstTxWarp prst="textNoShape">
                  <a:avLst/>
                </a:prstTxWarp>
              </a:bodyPr>
              <a:lstStyle/>
              <a:p>
                <a:r>
                  <a:rPr lang="en-US" altLang="zh-CN" sz="2400" b="1">
                    <a:solidFill>
                      <a:srgbClr val="FFFFFF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03</a:t>
                </a:r>
                <a:endParaRPr lang="zh-CN" altLang="en-US" sz="2400" b="1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E7D8180E-47A7-E0D5-359B-40F51ADA3A4C}"/>
                  </a:ext>
                </a:extLst>
              </p:cNvPr>
              <p:cNvSpPr/>
              <p:nvPr/>
            </p:nvSpPr>
            <p:spPr bwMode="auto">
              <a:xfrm>
                <a:off x="5867400" y="4725988"/>
                <a:ext cx="4763" cy="1588"/>
              </a:xfrm>
              <a:custGeom>
                <a:avLst/>
                <a:gdLst>
                  <a:gd name="T0" fmla="*/ 0 w 2"/>
                  <a:gd name="T1" fmla="*/ 0 h 1"/>
                  <a:gd name="T2" fmla="*/ 2 w 2"/>
                  <a:gd name="T3" fmla="*/ 1 h 1"/>
                  <a:gd name="T4" fmla="*/ 0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2" y="0"/>
                      <a:pt x="2" y="1"/>
                    </a:cubicBezTo>
                    <a:cubicBezTo>
                      <a:pt x="2" y="0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F205561D-B4E3-B817-6643-673E931A6340}"/>
                  </a:ext>
                </a:extLst>
              </p:cNvPr>
              <p:cNvSpPr/>
              <p:nvPr/>
            </p:nvSpPr>
            <p:spPr bwMode="auto">
              <a:xfrm>
                <a:off x="5843588" y="4719638"/>
                <a:ext cx="7938" cy="1588"/>
              </a:xfrm>
              <a:custGeom>
                <a:avLst/>
                <a:gdLst>
                  <a:gd name="T0" fmla="*/ 0 w 4"/>
                  <a:gd name="T1" fmla="*/ 0 h 1"/>
                  <a:gd name="T2" fmla="*/ 4 w 4"/>
                  <a:gd name="T3" fmla="*/ 1 h 1"/>
                  <a:gd name="T4" fmla="*/ 0 w 4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cubicBezTo>
                      <a:pt x="2" y="0"/>
                      <a:pt x="3" y="1"/>
                      <a:pt x="4" y="1"/>
                    </a:cubicBezTo>
                    <a:cubicBezTo>
                      <a:pt x="3" y="1"/>
                      <a:pt x="2" y="0"/>
                      <a:pt x="0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5AB45131-F367-B6CF-8E88-AD1C84079E37}"/>
                  </a:ext>
                </a:extLst>
              </p:cNvPr>
              <p:cNvSpPr/>
              <p:nvPr/>
            </p:nvSpPr>
            <p:spPr bwMode="auto">
              <a:xfrm>
                <a:off x="5570538" y="4606925"/>
                <a:ext cx="7938" cy="4763"/>
              </a:xfrm>
              <a:custGeom>
                <a:avLst/>
                <a:gdLst>
                  <a:gd name="T0" fmla="*/ 0 w 4"/>
                  <a:gd name="T1" fmla="*/ 0 h 3"/>
                  <a:gd name="T2" fmla="*/ 4 w 4"/>
                  <a:gd name="T3" fmla="*/ 3 h 3"/>
                  <a:gd name="T4" fmla="*/ 0 w 4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cubicBezTo>
                      <a:pt x="2" y="1"/>
                      <a:pt x="3" y="2"/>
                      <a:pt x="4" y="3"/>
                    </a:cubicBezTo>
                    <a:cubicBezTo>
                      <a:pt x="3" y="2"/>
                      <a:pt x="2" y="1"/>
                      <a:pt x="0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66015DF6-F721-F3D0-BA22-71EB2613D252}"/>
                  </a:ext>
                </a:extLst>
              </p:cNvPr>
              <p:cNvSpPr/>
              <p:nvPr/>
            </p:nvSpPr>
            <p:spPr bwMode="auto">
              <a:xfrm>
                <a:off x="5532438" y="4583113"/>
                <a:ext cx="6350" cy="3175"/>
              </a:xfrm>
              <a:custGeom>
                <a:avLst/>
                <a:gdLst>
                  <a:gd name="T0" fmla="*/ 0 w 4"/>
                  <a:gd name="T1" fmla="*/ 0 h 2"/>
                  <a:gd name="T2" fmla="*/ 4 w 4"/>
                  <a:gd name="T3" fmla="*/ 2 h 2"/>
                  <a:gd name="T4" fmla="*/ 0 w 4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cubicBezTo>
                      <a:pt x="1" y="1"/>
                      <a:pt x="3" y="2"/>
                      <a:pt x="4" y="2"/>
                    </a:cubicBezTo>
                    <a:cubicBezTo>
                      <a:pt x="3" y="2"/>
                      <a:pt x="1" y="1"/>
                      <a:pt x="0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27E56152-B3A7-210E-84BE-6E988303B3EC}"/>
                  </a:ext>
                </a:extLst>
              </p:cNvPr>
              <p:cNvSpPr/>
              <p:nvPr/>
            </p:nvSpPr>
            <p:spPr bwMode="auto">
              <a:xfrm>
                <a:off x="5551488" y="4595813"/>
                <a:ext cx="7938" cy="3175"/>
              </a:xfrm>
              <a:custGeom>
                <a:avLst/>
                <a:gdLst>
                  <a:gd name="T0" fmla="*/ 0 w 4"/>
                  <a:gd name="T1" fmla="*/ 0 h 2"/>
                  <a:gd name="T2" fmla="*/ 4 w 4"/>
                  <a:gd name="T3" fmla="*/ 2 h 2"/>
                  <a:gd name="T4" fmla="*/ 0 w 4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cubicBezTo>
                      <a:pt x="1" y="0"/>
                      <a:pt x="2" y="1"/>
                      <a:pt x="4" y="2"/>
                    </a:cubicBezTo>
                    <a:cubicBezTo>
                      <a:pt x="2" y="1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62786258-49A0-4957-EF12-4FFD7F1A487D}"/>
                  </a:ext>
                </a:extLst>
              </p:cNvPr>
              <p:cNvSpPr/>
              <p:nvPr/>
            </p:nvSpPr>
            <p:spPr bwMode="auto">
              <a:xfrm>
                <a:off x="5632450" y="4640263"/>
                <a:ext cx="6350" cy="3175"/>
              </a:xfrm>
              <a:custGeom>
                <a:avLst/>
                <a:gdLst>
                  <a:gd name="T0" fmla="*/ 0 w 4"/>
                  <a:gd name="T1" fmla="*/ 0 h 2"/>
                  <a:gd name="T2" fmla="*/ 4 w 4"/>
                  <a:gd name="T3" fmla="*/ 2 h 2"/>
                  <a:gd name="T4" fmla="*/ 0 w 4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cubicBezTo>
                      <a:pt x="2" y="1"/>
                      <a:pt x="3" y="2"/>
                      <a:pt x="4" y="2"/>
                    </a:cubicBezTo>
                    <a:cubicBezTo>
                      <a:pt x="3" y="2"/>
                      <a:pt x="2" y="1"/>
                      <a:pt x="0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0A57336A-75BC-887F-CDB0-952CF300974E}"/>
                  </a:ext>
                </a:extLst>
              </p:cNvPr>
              <p:cNvSpPr/>
              <p:nvPr/>
            </p:nvSpPr>
            <p:spPr bwMode="auto">
              <a:xfrm>
                <a:off x="5611813" y="4630738"/>
                <a:ext cx="7938" cy="3175"/>
              </a:xfrm>
              <a:custGeom>
                <a:avLst/>
                <a:gdLst>
                  <a:gd name="T0" fmla="*/ 0 w 4"/>
                  <a:gd name="T1" fmla="*/ 0 h 2"/>
                  <a:gd name="T2" fmla="*/ 4 w 4"/>
                  <a:gd name="T3" fmla="*/ 2 h 2"/>
                  <a:gd name="T4" fmla="*/ 0 w 4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cubicBezTo>
                      <a:pt x="1" y="0"/>
                      <a:pt x="3" y="1"/>
                      <a:pt x="4" y="2"/>
                    </a:cubicBezTo>
                    <a:cubicBezTo>
                      <a:pt x="3" y="1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ECA75BF8-E95F-9657-3FEB-7B06202BF7D7}"/>
                  </a:ext>
                </a:extLst>
              </p:cNvPr>
              <p:cNvSpPr/>
              <p:nvPr/>
            </p:nvSpPr>
            <p:spPr bwMode="auto">
              <a:xfrm>
                <a:off x="5654675" y="4651375"/>
                <a:ext cx="1588" cy="1588"/>
              </a:xfrm>
              <a:custGeom>
                <a:avLst/>
                <a:gdLst>
                  <a:gd name="T0" fmla="*/ 0 w 1"/>
                  <a:gd name="T1" fmla="*/ 0 h 1"/>
                  <a:gd name="T2" fmla="*/ 1 w 1"/>
                  <a:gd name="T3" fmla="*/ 1 h 1"/>
                  <a:gd name="T4" fmla="*/ 0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1" y="0"/>
                      <a:pt x="1" y="1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C0404ECC-1F1E-2092-5ECD-82DC76F6B674}"/>
                  </a:ext>
                </a:extLst>
              </p:cNvPr>
              <p:cNvSpPr/>
              <p:nvPr/>
            </p:nvSpPr>
            <p:spPr bwMode="auto">
              <a:xfrm>
                <a:off x="5821363" y="4714875"/>
                <a:ext cx="7938" cy="1588"/>
              </a:xfrm>
              <a:custGeom>
                <a:avLst/>
                <a:gdLst>
                  <a:gd name="T0" fmla="*/ 0 w 4"/>
                  <a:gd name="T1" fmla="*/ 0 h 1"/>
                  <a:gd name="T2" fmla="*/ 4 w 4"/>
                  <a:gd name="T3" fmla="*/ 1 h 1"/>
                  <a:gd name="T4" fmla="*/ 0 w 4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cubicBezTo>
                      <a:pt x="1" y="0"/>
                      <a:pt x="3" y="1"/>
                      <a:pt x="4" y="1"/>
                    </a:cubicBezTo>
                    <a:cubicBezTo>
                      <a:pt x="3" y="1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91D8385E-05F5-A4CF-60E6-BB6D0BAC91F0}"/>
                  </a:ext>
                </a:extLst>
              </p:cNvPr>
              <p:cNvSpPr/>
              <p:nvPr/>
            </p:nvSpPr>
            <p:spPr bwMode="auto">
              <a:xfrm>
                <a:off x="5753100" y="4692650"/>
                <a:ext cx="6350" cy="3175"/>
              </a:xfrm>
              <a:custGeom>
                <a:avLst/>
                <a:gdLst>
                  <a:gd name="T0" fmla="*/ 0 w 4"/>
                  <a:gd name="T1" fmla="*/ 0 h 2"/>
                  <a:gd name="T2" fmla="*/ 4 w 4"/>
                  <a:gd name="T3" fmla="*/ 2 h 2"/>
                  <a:gd name="T4" fmla="*/ 0 w 4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cubicBezTo>
                      <a:pt x="2" y="1"/>
                      <a:pt x="3" y="1"/>
                      <a:pt x="4" y="2"/>
                    </a:cubicBezTo>
                    <a:cubicBezTo>
                      <a:pt x="3" y="1"/>
                      <a:pt x="2" y="1"/>
                      <a:pt x="0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FBFD5D1D-7236-6886-F48D-505ECC3B8194}"/>
                  </a:ext>
                </a:extLst>
              </p:cNvPr>
              <p:cNvSpPr/>
              <p:nvPr/>
            </p:nvSpPr>
            <p:spPr bwMode="auto">
              <a:xfrm>
                <a:off x="5799138" y="4706938"/>
                <a:ext cx="7938" cy="1588"/>
              </a:xfrm>
              <a:custGeom>
                <a:avLst/>
                <a:gdLst>
                  <a:gd name="T0" fmla="*/ 0 w 4"/>
                  <a:gd name="T1" fmla="*/ 0 h 1"/>
                  <a:gd name="T2" fmla="*/ 4 w 4"/>
                  <a:gd name="T3" fmla="*/ 1 h 1"/>
                  <a:gd name="T4" fmla="*/ 0 w 4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cubicBezTo>
                      <a:pt x="1" y="1"/>
                      <a:pt x="2" y="1"/>
                      <a:pt x="4" y="1"/>
                    </a:cubicBezTo>
                    <a:cubicBezTo>
                      <a:pt x="2" y="1"/>
                      <a:pt x="1" y="1"/>
                      <a:pt x="0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6B4AD127-E940-B4A4-7B89-99A727F38F97}"/>
                  </a:ext>
                </a:extLst>
              </p:cNvPr>
              <p:cNvSpPr/>
              <p:nvPr/>
            </p:nvSpPr>
            <p:spPr bwMode="auto">
              <a:xfrm>
                <a:off x="5732463" y="4684713"/>
                <a:ext cx="4763" cy="1588"/>
              </a:xfrm>
              <a:custGeom>
                <a:avLst/>
                <a:gdLst>
                  <a:gd name="T0" fmla="*/ 0 w 3"/>
                  <a:gd name="T1" fmla="*/ 0 h 1"/>
                  <a:gd name="T2" fmla="*/ 3 w 3"/>
                  <a:gd name="T3" fmla="*/ 1 h 1"/>
                  <a:gd name="T4" fmla="*/ 0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cubicBezTo>
                      <a:pt x="1" y="1"/>
                      <a:pt x="2" y="1"/>
                      <a:pt x="3" y="1"/>
                    </a:cubicBezTo>
                    <a:cubicBezTo>
                      <a:pt x="2" y="1"/>
                      <a:pt x="1" y="1"/>
                      <a:pt x="0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C0A62BF1-8120-75D4-C40C-41A23B24D810}"/>
                  </a:ext>
                </a:extLst>
              </p:cNvPr>
              <p:cNvSpPr/>
              <p:nvPr/>
            </p:nvSpPr>
            <p:spPr bwMode="auto">
              <a:xfrm>
                <a:off x="5711825" y="4676775"/>
                <a:ext cx="4763" cy="3175"/>
              </a:xfrm>
              <a:custGeom>
                <a:avLst/>
                <a:gdLst>
                  <a:gd name="T0" fmla="*/ 0 w 3"/>
                  <a:gd name="T1" fmla="*/ 0 h 1"/>
                  <a:gd name="T2" fmla="*/ 3 w 3"/>
                  <a:gd name="T3" fmla="*/ 1 h 1"/>
                  <a:gd name="T4" fmla="*/ 0 w 3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cubicBezTo>
                      <a:pt x="1" y="0"/>
                      <a:pt x="2" y="1"/>
                      <a:pt x="3" y="1"/>
                    </a:cubicBezTo>
                    <a:cubicBezTo>
                      <a:pt x="2" y="1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7B24D795-4EF4-9EAC-FF79-FD2E7DD9C0C2}"/>
                  </a:ext>
                </a:extLst>
              </p:cNvPr>
              <p:cNvSpPr/>
              <p:nvPr/>
            </p:nvSpPr>
            <p:spPr bwMode="auto">
              <a:xfrm>
                <a:off x="5591175" y="4619625"/>
                <a:ext cx="7938" cy="3175"/>
              </a:xfrm>
              <a:custGeom>
                <a:avLst/>
                <a:gdLst>
                  <a:gd name="T0" fmla="*/ 0 w 4"/>
                  <a:gd name="T1" fmla="*/ 0 h 2"/>
                  <a:gd name="T2" fmla="*/ 4 w 4"/>
                  <a:gd name="T3" fmla="*/ 2 h 2"/>
                  <a:gd name="T4" fmla="*/ 0 w 4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cubicBezTo>
                      <a:pt x="1" y="0"/>
                      <a:pt x="3" y="1"/>
                      <a:pt x="4" y="2"/>
                    </a:cubicBezTo>
                    <a:cubicBezTo>
                      <a:pt x="3" y="1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BDD8E0E0-735A-4AE1-A85F-921AEE511AED}"/>
                  </a:ext>
                </a:extLst>
              </p:cNvPr>
              <p:cNvSpPr/>
              <p:nvPr/>
            </p:nvSpPr>
            <p:spPr bwMode="auto">
              <a:xfrm>
                <a:off x="5775325" y="4699000"/>
                <a:ext cx="9525" cy="4763"/>
              </a:xfrm>
              <a:custGeom>
                <a:avLst/>
                <a:gdLst>
                  <a:gd name="T0" fmla="*/ 0 w 5"/>
                  <a:gd name="T1" fmla="*/ 0 h 2"/>
                  <a:gd name="T2" fmla="*/ 5 w 5"/>
                  <a:gd name="T3" fmla="*/ 2 h 2"/>
                  <a:gd name="T4" fmla="*/ 0 w 5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cubicBezTo>
                      <a:pt x="2" y="1"/>
                      <a:pt x="3" y="1"/>
                      <a:pt x="5" y="2"/>
                    </a:cubicBezTo>
                    <a:cubicBezTo>
                      <a:pt x="3" y="1"/>
                      <a:pt x="2" y="1"/>
                      <a:pt x="0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8EAEC6AE-02C7-08F0-EC36-FBE08B5462ED}"/>
                  </a:ext>
                </a:extLst>
              </p:cNvPr>
              <p:cNvSpPr/>
              <p:nvPr/>
            </p:nvSpPr>
            <p:spPr bwMode="auto">
              <a:xfrm>
                <a:off x="6961188" y="3179763"/>
                <a:ext cx="4763" cy="11113"/>
              </a:xfrm>
              <a:custGeom>
                <a:avLst/>
                <a:gdLst>
                  <a:gd name="T0" fmla="*/ 3 w 3"/>
                  <a:gd name="T1" fmla="*/ 6 h 6"/>
                  <a:gd name="T2" fmla="*/ 0 w 3"/>
                  <a:gd name="T3" fmla="*/ 0 h 6"/>
                  <a:gd name="T4" fmla="*/ 3 w 3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cubicBezTo>
                      <a:pt x="2" y="4"/>
                      <a:pt x="1" y="2"/>
                      <a:pt x="0" y="0"/>
                    </a:cubicBezTo>
                    <a:cubicBezTo>
                      <a:pt x="1" y="2"/>
                      <a:pt x="2" y="4"/>
                      <a:pt x="3" y="6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9700C9B0-1261-5092-95E0-70E9F2AF20BE}"/>
                  </a:ext>
                </a:extLst>
              </p:cNvPr>
              <p:cNvSpPr/>
              <p:nvPr/>
            </p:nvSpPr>
            <p:spPr bwMode="auto">
              <a:xfrm>
                <a:off x="6985000" y="3221038"/>
                <a:ext cx="6350" cy="11113"/>
              </a:xfrm>
              <a:custGeom>
                <a:avLst/>
                <a:gdLst>
                  <a:gd name="T0" fmla="*/ 3 w 3"/>
                  <a:gd name="T1" fmla="*/ 6 h 6"/>
                  <a:gd name="T2" fmla="*/ 0 w 3"/>
                  <a:gd name="T3" fmla="*/ 0 h 6"/>
                  <a:gd name="T4" fmla="*/ 3 w 3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cubicBezTo>
                      <a:pt x="2" y="4"/>
                      <a:pt x="1" y="2"/>
                      <a:pt x="0" y="0"/>
                    </a:cubicBezTo>
                    <a:cubicBezTo>
                      <a:pt x="1" y="2"/>
                      <a:pt x="2" y="4"/>
                      <a:pt x="3" y="6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968C8910-2BAA-0DBE-B166-5AC41B0D536D}"/>
                  </a:ext>
                </a:extLst>
              </p:cNvPr>
              <p:cNvSpPr/>
              <p:nvPr/>
            </p:nvSpPr>
            <p:spPr bwMode="auto">
              <a:xfrm>
                <a:off x="6972300" y="3200400"/>
                <a:ext cx="6350" cy="11113"/>
              </a:xfrm>
              <a:custGeom>
                <a:avLst/>
                <a:gdLst>
                  <a:gd name="T0" fmla="*/ 4 w 4"/>
                  <a:gd name="T1" fmla="*/ 6 h 6"/>
                  <a:gd name="T2" fmla="*/ 0 w 4"/>
                  <a:gd name="T3" fmla="*/ 0 h 6"/>
                  <a:gd name="T4" fmla="*/ 4 w 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cubicBezTo>
                      <a:pt x="3" y="4"/>
                      <a:pt x="2" y="2"/>
                      <a:pt x="0" y="0"/>
                    </a:cubicBezTo>
                    <a:cubicBezTo>
                      <a:pt x="2" y="2"/>
                      <a:pt x="3" y="4"/>
                      <a:pt x="4" y="6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5E9621AC-2275-2863-4563-88782766DD5A}"/>
                  </a:ext>
                </a:extLst>
              </p:cNvPr>
              <p:cNvSpPr/>
              <p:nvPr/>
            </p:nvSpPr>
            <p:spPr bwMode="auto">
              <a:xfrm>
                <a:off x="6996113" y="3241675"/>
                <a:ext cx="7938" cy="14288"/>
              </a:xfrm>
              <a:custGeom>
                <a:avLst/>
                <a:gdLst>
                  <a:gd name="T0" fmla="*/ 4 w 4"/>
                  <a:gd name="T1" fmla="*/ 8 h 8"/>
                  <a:gd name="T2" fmla="*/ 0 w 4"/>
                  <a:gd name="T3" fmla="*/ 0 h 8"/>
                  <a:gd name="T4" fmla="*/ 4 w 4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8">
                    <a:moveTo>
                      <a:pt x="4" y="8"/>
                    </a:moveTo>
                    <a:cubicBezTo>
                      <a:pt x="3" y="5"/>
                      <a:pt x="2" y="3"/>
                      <a:pt x="0" y="0"/>
                    </a:cubicBezTo>
                    <a:cubicBezTo>
                      <a:pt x="2" y="3"/>
                      <a:pt x="3" y="5"/>
                      <a:pt x="4" y="8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820EC8AD-2D1D-FC24-7C58-635867748458}"/>
                  </a:ext>
                </a:extLst>
              </p:cNvPr>
              <p:cNvSpPr/>
              <p:nvPr/>
            </p:nvSpPr>
            <p:spPr bwMode="auto">
              <a:xfrm>
                <a:off x="7008813" y="3265488"/>
                <a:ext cx="9525" cy="15875"/>
              </a:xfrm>
              <a:custGeom>
                <a:avLst/>
                <a:gdLst>
                  <a:gd name="T0" fmla="*/ 5 w 5"/>
                  <a:gd name="T1" fmla="*/ 9 h 9"/>
                  <a:gd name="T2" fmla="*/ 0 w 5"/>
                  <a:gd name="T3" fmla="*/ 0 h 9"/>
                  <a:gd name="T4" fmla="*/ 5 w 5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9">
                    <a:moveTo>
                      <a:pt x="5" y="9"/>
                    </a:moveTo>
                    <a:cubicBezTo>
                      <a:pt x="3" y="6"/>
                      <a:pt x="2" y="3"/>
                      <a:pt x="0" y="0"/>
                    </a:cubicBezTo>
                    <a:cubicBezTo>
                      <a:pt x="2" y="3"/>
                      <a:pt x="3" y="6"/>
                      <a:pt x="5" y="9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C6E2EBC3-8AD7-D54D-AE0A-FBDFB065BBEA}"/>
                  </a:ext>
                </a:extLst>
              </p:cNvPr>
              <p:cNvSpPr/>
              <p:nvPr/>
            </p:nvSpPr>
            <p:spPr bwMode="auto">
              <a:xfrm>
                <a:off x="7021513" y="3290888"/>
                <a:ext cx="6350" cy="12700"/>
              </a:xfrm>
              <a:custGeom>
                <a:avLst/>
                <a:gdLst>
                  <a:gd name="T0" fmla="*/ 3 w 3"/>
                  <a:gd name="T1" fmla="*/ 7 h 7"/>
                  <a:gd name="T2" fmla="*/ 0 w 3"/>
                  <a:gd name="T3" fmla="*/ 0 h 7"/>
                  <a:gd name="T4" fmla="*/ 3 w 3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7">
                    <a:moveTo>
                      <a:pt x="3" y="7"/>
                    </a:moveTo>
                    <a:cubicBezTo>
                      <a:pt x="2" y="4"/>
                      <a:pt x="1" y="2"/>
                      <a:pt x="0" y="0"/>
                    </a:cubicBezTo>
                    <a:cubicBezTo>
                      <a:pt x="1" y="2"/>
                      <a:pt x="2" y="4"/>
                      <a:pt x="3" y="7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C76A1879-B1A8-E8E9-38D7-525392F4F2AB}"/>
                  </a:ext>
                </a:extLst>
              </p:cNvPr>
              <p:cNvSpPr/>
              <p:nvPr/>
            </p:nvSpPr>
            <p:spPr bwMode="auto">
              <a:xfrm>
                <a:off x="6870700" y="3059113"/>
                <a:ext cx="6350" cy="7938"/>
              </a:xfrm>
              <a:custGeom>
                <a:avLst/>
                <a:gdLst>
                  <a:gd name="T0" fmla="*/ 4 w 4"/>
                  <a:gd name="T1" fmla="*/ 4 h 4"/>
                  <a:gd name="T2" fmla="*/ 0 w 4"/>
                  <a:gd name="T3" fmla="*/ 0 h 4"/>
                  <a:gd name="T4" fmla="*/ 4 w 4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cubicBezTo>
                      <a:pt x="3" y="3"/>
                      <a:pt x="2" y="1"/>
                      <a:pt x="0" y="0"/>
                    </a:cubicBezTo>
                    <a:cubicBezTo>
                      <a:pt x="2" y="1"/>
                      <a:pt x="3" y="3"/>
                      <a:pt x="4" y="4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9BA3AA5C-9B2D-08D2-3974-EA6D0A2D75E1}"/>
                  </a:ext>
                </a:extLst>
              </p:cNvPr>
              <p:cNvSpPr/>
              <p:nvPr/>
            </p:nvSpPr>
            <p:spPr bwMode="auto">
              <a:xfrm>
                <a:off x="6892925" y="3084513"/>
                <a:ext cx="6350" cy="9525"/>
              </a:xfrm>
              <a:custGeom>
                <a:avLst/>
                <a:gdLst>
                  <a:gd name="T0" fmla="*/ 4 w 4"/>
                  <a:gd name="T1" fmla="*/ 5 h 5"/>
                  <a:gd name="T2" fmla="*/ 0 w 4"/>
                  <a:gd name="T3" fmla="*/ 0 h 5"/>
                  <a:gd name="T4" fmla="*/ 4 w 4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cubicBezTo>
                      <a:pt x="3" y="3"/>
                      <a:pt x="1" y="1"/>
                      <a:pt x="0" y="0"/>
                    </a:cubicBezTo>
                    <a:cubicBezTo>
                      <a:pt x="1" y="1"/>
                      <a:pt x="3" y="3"/>
                      <a:pt x="4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C619859A-BBED-50A5-622B-EDB119149A2F}"/>
                  </a:ext>
                </a:extLst>
              </p:cNvPr>
              <p:cNvSpPr/>
              <p:nvPr/>
            </p:nvSpPr>
            <p:spPr bwMode="auto">
              <a:xfrm>
                <a:off x="6907213" y="3103563"/>
                <a:ext cx="7938" cy="9525"/>
              </a:xfrm>
              <a:custGeom>
                <a:avLst/>
                <a:gdLst>
                  <a:gd name="T0" fmla="*/ 4 w 4"/>
                  <a:gd name="T1" fmla="*/ 5 h 5"/>
                  <a:gd name="T2" fmla="*/ 0 w 4"/>
                  <a:gd name="T3" fmla="*/ 0 h 5"/>
                  <a:gd name="T4" fmla="*/ 4 w 4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cubicBezTo>
                      <a:pt x="2" y="3"/>
                      <a:pt x="1" y="1"/>
                      <a:pt x="0" y="0"/>
                    </a:cubicBezTo>
                    <a:cubicBezTo>
                      <a:pt x="1" y="1"/>
                      <a:pt x="2" y="3"/>
                      <a:pt x="4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E2203C7B-F21B-1619-C2CA-253A89BF2E02}"/>
                  </a:ext>
                </a:extLst>
              </p:cNvPr>
              <p:cNvSpPr/>
              <p:nvPr/>
            </p:nvSpPr>
            <p:spPr bwMode="auto">
              <a:xfrm>
                <a:off x="6854825" y="3040063"/>
                <a:ext cx="7938" cy="7938"/>
              </a:xfrm>
              <a:custGeom>
                <a:avLst/>
                <a:gdLst>
                  <a:gd name="T0" fmla="*/ 4 w 4"/>
                  <a:gd name="T1" fmla="*/ 4 h 4"/>
                  <a:gd name="T2" fmla="*/ 0 w 4"/>
                  <a:gd name="T3" fmla="*/ 0 h 4"/>
                  <a:gd name="T4" fmla="*/ 4 w 4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cubicBezTo>
                      <a:pt x="2" y="3"/>
                      <a:pt x="1" y="2"/>
                      <a:pt x="0" y="0"/>
                    </a:cubicBezTo>
                    <a:cubicBezTo>
                      <a:pt x="1" y="2"/>
                      <a:pt x="2" y="3"/>
                      <a:pt x="4" y="4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641BF9F1-5B7A-1191-6E4C-4E2749452195}"/>
                  </a:ext>
                </a:extLst>
              </p:cNvPr>
              <p:cNvSpPr/>
              <p:nvPr/>
            </p:nvSpPr>
            <p:spPr bwMode="auto">
              <a:xfrm>
                <a:off x="6919913" y="3122613"/>
                <a:ext cx="7938" cy="9525"/>
              </a:xfrm>
              <a:custGeom>
                <a:avLst/>
                <a:gdLst>
                  <a:gd name="T0" fmla="*/ 4 w 4"/>
                  <a:gd name="T1" fmla="*/ 5 h 5"/>
                  <a:gd name="T2" fmla="*/ 0 w 4"/>
                  <a:gd name="T3" fmla="*/ 0 h 5"/>
                  <a:gd name="T4" fmla="*/ 4 w 4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cubicBezTo>
                      <a:pt x="3" y="3"/>
                      <a:pt x="2" y="1"/>
                      <a:pt x="0" y="0"/>
                    </a:cubicBezTo>
                    <a:cubicBezTo>
                      <a:pt x="2" y="1"/>
                      <a:pt x="3" y="3"/>
                      <a:pt x="4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855471C2-1E28-D791-88D6-C2F3F05A4B08}"/>
                  </a:ext>
                </a:extLst>
              </p:cNvPr>
              <p:cNvSpPr/>
              <p:nvPr/>
            </p:nvSpPr>
            <p:spPr bwMode="auto">
              <a:xfrm>
                <a:off x="6934200" y="3141663"/>
                <a:ext cx="6350" cy="7938"/>
              </a:xfrm>
              <a:custGeom>
                <a:avLst/>
                <a:gdLst>
                  <a:gd name="T0" fmla="*/ 3 w 3"/>
                  <a:gd name="T1" fmla="*/ 5 h 5"/>
                  <a:gd name="T2" fmla="*/ 0 w 3"/>
                  <a:gd name="T3" fmla="*/ 0 h 5"/>
                  <a:gd name="T4" fmla="*/ 3 w 3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5">
                    <a:moveTo>
                      <a:pt x="3" y="5"/>
                    </a:moveTo>
                    <a:cubicBezTo>
                      <a:pt x="2" y="3"/>
                      <a:pt x="1" y="2"/>
                      <a:pt x="0" y="0"/>
                    </a:cubicBezTo>
                    <a:cubicBezTo>
                      <a:pt x="1" y="2"/>
                      <a:pt x="2" y="3"/>
                      <a:pt x="3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E74F956A-EDF0-E570-D646-05D5958FDBAA}"/>
                  </a:ext>
                </a:extLst>
              </p:cNvPr>
              <p:cNvSpPr/>
              <p:nvPr/>
            </p:nvSpPr>
            <p:spPr bwMode="auto">
              <a:xfrm>
                <a:off x="6948488" y="3159125"/>
                <a:ext cx="4763" cy="11113"/>
              </a:xfrm>
              <a:custGeom>
                <a:avLst/>
                <a:gdLst>
                  <a:gd name="T0" fmla="*/ 3 w 3"/>
                  <a:gd name="T1" fmla="*/ 6 h 6"/>
                  <a:gd name="T2" fmla="*/ 0 w 3"/>
                  <a:gd name="T3" fmla="*/ 0 h 6"/>
                  <a:gd name="T4" fmla="*/ 3 w 3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cubicBezTo>
                      <a:pt x="2" y="4"/>
                      <a:pt x="1" y="2"/>
                      <a:pt x="0" y="0"/>
                    </a:cubicBezTo>
                    <a:cubicBezTo>
                      <a:pt x="1" y="2"/>
                      <a:pt x="2" y="4"/>
                      <a:pt x="3" y="6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63F79C06-EAA8-7B28-839B-37A8530BB8FF}"/>
                  </a:ext>
                </a:extLst>
              </p:cNvPr>
              <p:cNvSpPr/>
              <p:nvPr/>
            </p:nvSpPr>
            <p:spPr bwMode="auto">
              <a:xfrm>
                <a:off x="7031038" y="3313113"/>
                <a:ext cx="6350" cy="12700"/>
              </a:xfrm>
              <a:custGeom>
                <a:avLst/>
                <a:gdLst>
                  <a:gd name="T0" fmla="*/ 3 w 3"/>
                  <a:gd name="T1" fmla="*/ 7 h 7"/>
                  <a:gd name="T2" fmla="*/ 0 w 3"/>
                  <a:gd name="T3" fmla="*/ 0 h 7"/>
                  <a:gd name="T4" fmla="*/ 3 w 3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7">
                    <a:moveTo>
                      <a:pt x="3" y="7"/>
                    </a:moveTo>
                    <a:cubicBezTo>
                      <a:pt x="2" y="4"/>
                      <a:pt x="1" y="2"/>
                      <a:pt x="0" y="0"/>
                    </a:cubicBezTo>
                    <a:cubicBezTo>
                      <a:pt x="1" y="2"/>
                      <a:pt x="2" y="4"/>
                      <a:pt x="3" y="7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913A2755-5C3A-9DC0-E4B1-D8266959748C}"/>
                  </a:ext>
                </a:extLst>
              </p:cNvPr>
              <p:cNvSpPr/>
              <p:nvPr/>
            </p:nvSpPr>
            <p:spPr bwMode="auto">
              <a:xfrm>
                <a:off x="7104063" y="3552825"/>
                <a:ext cx="3175" cy="14288"/>
              </a:xfrm>
              <a:custGeom>
                <a:avLst/>
                <a:gdLst>
                  <a:gd name="T0" fmla="*/ 2 w 2"/>
                  <a:gd name="T1" fmla="*/ 8 h 8"/>
                  <a:gd name="T2" fmla="*/ 0 w 2"/>
                  <a:gd name="T3" fmla="*/ 0 h 8"/>
                  <a:gd name="T4" fmla="*/ 2 w 2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8">
                    <a:moveTo>
                      <a:pt x="2" y="8"/>
                    </a:moveTo>
                    <a:cubicBezTo>
                      <a:pt x="1" y="5"/>
                      <a:pt x="1" y="3"/>
                      <a:pt x="0" y="0"/>
                    </a:cubicBezTo>
                    <a:cubicBezTo>
                      <a:pt x="1" y="3"/>
                      <a:pt x="1" y="5"/>
                      <a:pt x="2" y="8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AAFB11E2-873F-5E84-A4C8-53AE9458A0AF}"/>
                  </a:ext>
                </a:extLst>
              </p:cNvPr>
              <p:cNvSpPr/>
              <p:nvPr/>
            </p:nvSpPr>
            <p:spPr bwMode="auto">
              <a:xfrm>
                <a:off x="7107238" y="3578225"/>
                <a:ext cx="4763" cy="14288"/>
              </a:xfrm>
              <a:custGeom>
                <a:avLst/>
                <a:gdLst>
                  <a:gd name="T0" fmla="*/ 2 w 2"/>
                  <a:gd name="T1" fmla="*/ 7 h 7"/>
                  <a:gd name="T2" fmla="*/ 0 w 2"/>
                  <a:gd name="T3" fmla="*/ 0 h 7"/>
                  <a:gd name="T4" fmla="*/ 2 w 2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7">
                    <a:moveTo>
                      <a:pt x="2" y="7"/>
                    </a:moveTo>
                    <a:cubicBezTo>
                      <a:pt x="1" y="5"/>
                      <a:pt x="1" y="2"/>
                      <a:pt x="0" y="0"/>
                    </a:cubicBezTo>
                    <a:cubicBezTo>
                      <a:pt x="1" y="2"/>
                      <a:pt x="1" y="5"/>
                      <a:pt x="2" y="7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C3B63C18-5B30-9393-860D-DDEB35997D71}"/>
                  </a:ext>
                </a:extLst>
              </p:cNvPr>
              <p:cNvSpPr/>
              <p:nvPr/>
            </p:nvSpPr>
            <p:spPr bwMode="auto">
              <a:xfrm>
                <a:off x="7099300" y="3529013"/>
                <a:ext cx="3175" cy="14288"/>
              </a:xfrm>
              <a:custGeom>
                <a:avLst/>
                <a:gdLst>
                  <a:gd name="T0" fmla="*/ 1 w 1"/>
                  <a:gd name="T1" fmla="*/ 8 h 8"/>
                  <a:gd name="T2" fmla="*/ 0 w 1"/>
                  <a:gd name="T3" fmla="*/ 0 h 8"/>
                  <a:gd name="T4" fmla="*/ 1 w 1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8">
                    <a:moveTo>
                      <a:pt x="1" y="8"/>
                    </a:moveTo>
                    <a:cubicBezTo>
                      <a:pt x="1" y="5"/>
                      <a:pt x="0" y="3"/>
                      <a:pt x="0" y="0"/>
                    </a:cubicBezTo>
                    <a:cubicBezTo>
                      <a:pt x="0" y="3"/>
                      <a:pt x="1" y="5"/>
                      <a:pt x="1" y="8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F99E6552-45B0-9C64-4458-A41B6E69445B}"/>
                  </a:ext>
                </a:extLst>
              </p:cNvPr>
              <p:cNvSpPr/>
              <p:nvPr/>
            </p:nvSpPr>
            <p:spPr bwMode="auto">
              <a:xfrm>
                <a:off x="7115175" y="3627438"/>
                <a:ext cx="0" cy="14288"/>
              </a:xfrm>
              <a:custGeom>
                <a:avLst/>
                <a:gdLst>
                  <a:gd name="T0" fmla="*/ 8 h 8"/>
                  <a:gd name="T1" fmla="*/ 0 h 8"/>
                  <a:gd name="T2" fmla="*/ 8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8">
                    <a:moveTo>
                      <a:pt x="0" y="8"/>
                    </a:moveTo>
                    <a:cubicBezTo>
                      <a:pt x="0" y="5"/>
                      <a:pt x="0" y="3"/>
                      <a:pt x="0" y="0"/>
                    </a:cubicBezTo>
                    <a:cubicBezTo>
                      <a:pt x="0" y="3"/>
                      <a:pt x="0" y="5"/>
                      <a:pt x="0" y="8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0DC0AE6B-4918-6326-D72B-ECF90C952A34}"/>
                  </a:ext>
                </a:extLst>
              </p:cNvPr>
              <p:cNvSpPr/>
              <p:nvPr/>
            </p:nvSpPr>
            <p:spPr bwMode="auto">
              <a:xfrm>
                <a:off x="7094538" y="3502025"/>
                <a:ext cx="3175" cy="17463"/>
              </a:xfrm>
              <a:custGeom>
                <a:avLst/>
                <a:gdLst>
                  <a:gd name="T0" fmla="*/ 2 w 2"/>
                  <a:gd name="T1" fmla="*/ 9 h 9"/>
                  <a:gd name="T2" fmla="*/ 0 w 2"/>
                  <a:gd name="T3" fmla="*/ 0 h 9"/>
                  <a:gd name="T4" fmla="*/ 2 w 2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9">
                    <a:moveTo>
                      <a:pt x="2" y="9"/>
                    </a:moveTo>
                    <a:cubicBezTo>
                      <a:pt x="1" y="6"/>
                      <a:pt x="1" y="3"/>
                      <a:pt x="0" y="0"/>
                    </a:cubicBezTo>
                    <a:cubicBezTo>
                      <a:pt x="1" y="3"/>
                      <a:pt x="1" y="6"/>
                      <a:pt x="2" y="9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1C9CF622-D05E-0012-5AE5-54F246BBF911}"/>
                  </a:ext>
                </a:extLst>
              </p:cNvPr>
              <p:cNvSpPr/>
              <p:nvPr/>
            </p:nvSpPr>
            <p:spPr bwMode="auto">
              <a:xfrm>
                <a:off x="7118350" y="3676650"/>
                <a:ext cx="0" cy="17463"/>
              </a:xfrm>
              <a:custGeom>
                <a:avLst/>
                <a:gdLst>
                  <a:gd name="T0" fmla="*/ 9 h 9"/>
                  <a:gd name="T1" fmla="*/ 0 h 9"/>
                  <a:gd name="T2" fmla="*/ 9 h 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9">
                    <a:moveTo>
                      <a:pt x="0" y="9"/>
                    </a:moveTo>
                    <a:cubicBezTo>
                      <a:pt x="0" y="6"/>
                      <a:pt x="0" y="3"/>
                      <a:pt x="0" y="0"/>
                    </a:cubicBezTo>
                    <a:cubicBezTo>
                      <a:pt x="0" y="3"/>
                      <a:pt x="0" y="6"/>
                      <a:pt x="0" y="9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8E382DB1-A33B-36BB-9876-BE91FC869629}"/>
                  </a:ext>
                </a:extLst>
              </p:cNvPr>
              <p:cNvSpPr/>
              <p:nvPr/>
            </p:nvSpPr>
            <p:spPr bwMode="auto">
              <a:xfrm>
                <a:off x="7059613" y="3379788"/>
                <a:ext cx="3175" cy="12700"/>
              </a:xfrm>
              <a:custGeom>
                <a:avLst/>
                <a:gdLst>
                  <a:gd name="T0" fmla="*/ 2 w 2"/>
                  <a:gd name="T1" fmla="*/ 7 h 7"/>
                  <a:gd name="T2" fmla="*/ 0 w 2"/>
                  <a:gd name="T3" fmla="*/ 0 h 7"/>
                  <a:gd name="T4" fmla="*/ 2 w 2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7">
                    <a:moveTo>
                      <a:pt x="2" y="7"/>
                    </a:moveTo>
                    <a:cubicBezTo>
                      <a:pt x="1" y="5"/>
                      <a:pt x="1" y="2"/>
                      <a:pt x="0" y="0"/>
                    </a:cubicBezTo>
                    <a:cubicBezTo>
                      <a:pt x="1" y="2"/>
                      <a:pt x="1" y="5"/>
                      <a:pt x="2" y="7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25C44834-DEA2-41F5-437A-FDDE06BD631A}"/>
                  </a:ext>
                </a:extLst>
              </p:cNvPr>
              <p:cNvSpPr/>
              <p:nvPr/>
            </p:nvSpPr>
            <p:spPr bwMode="auto">
              <a:xfrm>
                <a:off x="7040563" y="3335338"/>
                <a:ext cx="6350" cy="11113"/>
              </a:xfrm>
              <a:custGeom>
                <a:avLst/>
                <a:gdLst>
                  <a:gd name="T0" fmla="*/ 3 w 3"/>
                  <a:gd name="T1" fmla="*/ 6 h 6"/>
                  <a:gd name="T2" fmla="*/ 0 w 3"/>
                  <a:gd name="T3" fmla="*/ 0 h 6"/>
                  <a:gd name="T4" fmla="*/ 3 w 3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6">
                    <a:moveTo>
                      <a:pt x="3" y="6"/>
                    </a:moveTo>
                    <a:cubicBezTo>
                      <a:pt x="2" y="4"/>
                      <a:pt x="1" y="2"/>
                      <a:pt x="0" y="0"/>
                    </a:cubicBezTo>
                    <a:cubicBezTo>
                      <a:pt x="1" y="2"/>
                      <a:pt x="2" y="4"/>
                      <a:pt x="3" y="6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491FE572-1AF9-40E3-5F20-EC9B9D2BC6FA}"/>
                  </a:ext>
                </a:extLst>
              </p:cNvPr>
              <p:cNvSpPr/>
              <p:nvPr/>
            </p:nvSpPr>
            <p:spPr bwMode="auto">
              <a:xfrm>
                <a:off x="7050088" y="3357563"/>
                <a:ext cx="4763" cy="12700"/>
              </a:xfrm>
              <a:custGeom>
                <a:avLst/>
                <a:gdLst>
                  <a:gd name="T0" fmla="*/ 3 w 3"/>
                  <a:gd name="T1" fmla="*/ 7 h 7"/>
                  <a:gd name="T2" fmla="*/ 0 w 3"/>
                  <a:gd name="T3" fmla="*/ 0 h 7"/>
                  <a:gd name="T4" fmla="*/ 3 w 3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7">
                    <a:moveTo>
                      <a:pt x="3" y="7"/>
                    </a:moveTo>
                    <a:cubicBezTo>
                      <a:pt x="2" y="4"/>
                      <a:pt x="1" y="2"/>
                      <a:pt x="0" y="0"/>
                    </a:cubicBezTo>
                    <a:cubicBezTo>
                      <a:pt x="1" y="2"/>
                      <a:pt x="2" y="4"/>
                      <a:pt x="3" y="7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7E016D17-6726-F87B-0BF9-79A0D7C2A6ED}"/>
                  </a:ext>
                </a:extLst>
              </p:cNvPr>
              <p:cNvSpPr/>
              <p:nvPr/>
            </p:nvSpPr>
            <p:spPr bwMode="auto">
              <a:xfrm>
                <a:off x="7065963" y="3402013"/>
                <a:ext cx="4763" cy="14288"/>
              </a:xfrm>
              <a:custGeom>
                <a:avLst/>
                <a:gdLst>
                  <a:gd name="T0" fmla="*/ 2 w 2"/>
                  <a:gd name="T1" fmla="*/ 7 h 7"/>
                  <a:gd name="T2" fmla="*/ 0 w 2"/>
                  <a:gd name="T3" fmla="*/ 0 h 7"/>
                  <a:gd name="T4" fmla="*/ 2 w 2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7">
                    <a:moveTo>
                      <a:pt x="2" y="7"/>
                    </a:moveTo>
                    <a:cubicBezTo>
                      <a:pt x="2" y="5"/>
                      <a:pt x="1" y="3"/>
                      <a:pt x="0" y="0"/>
                    </a:cubicBezTo>
                    <a:cubicBezTo>
                      <a:pt x="1" y="3"/>
                      <a:pt x="2" y="5"/>
                      <a:pt x="2" y="7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767AB647-140B-D3C8-21BD-4EE53E358B85}"/>
                  </a:ext>
                </a:extLst>
              </p:cNvPr>
              <p:cNvSpPr/>
              <p:nvPr/>
            </p:nvSpPr>
            <p:spPr bwMode="auto">
              <a:xfrm>
                <a:off x="7073900" y="3427413"/>
                <a:ext cx="3175" cy="12700"/>
              </a:xfrm>
              <a:custGeom>
                <a:avLst/>
                <a:gdLst>
                  <a:gd name="T0" fmla="*/ 2 w 2"/>
                  <a:gd name="T1" fmla="*/ 7 h 7"/>
                  <a:gd name="T2" fmla="*/ 0 w 2"/>
                  <a:gd name="T3" fmla="*/ 0 h 7"/>
                  <a:gd name="T4" fmla="*/ 2 w 2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7">
                    <a:moveTo>
                      <a:pt x="2" y="7"/>
                    </a:moveTo>
                    <a:cubicBezTo>
                      <a:pt x="1" y="5"/>
                      <a:pt x="1" y="2"/>
                      <a:pt x="0" y="0"/>
                    </a:cubicBezTo>
                    <a:cubicBezTo>
                      <a:pt x="1" y="2"/>
                      <a:pt x="1" y="5"/>
                      <a:pt x="2" y="7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1EFE94F1-139A-4860-7575-5D931CD31614}"/>
                  </a:ext>
                </a:extLst>
              </p:cNvPr>
              <p:cNvSpPr/>
              <p:nvPr/>
            </p:nvSpPr>
            <p:spPr bwMode="auto">
              <a:xfrm>
                <a:off x="7086600" y="3473450"/>
                <a:ext cx="6350" cy="22225"/>
              </a:xfrm>
              <a:custGeom>
                <a:avLst/>
                <a:gdLst>
                  <a:gd name="T0" fmla="*/ 3 w 3"/>
                  <a:gd name="T1" fmla="*/ 12 h 12"/>
                  <a:gd name="T2" fmla="*/ 0 w 3"/>
                  <a:gd name="T3" fmla="*/ 0 h 12"/>
                  <a:gd name="T4" fmla="*/ 3 w 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2">
                    <a:moveTo>
                      <a:pt x="3" y="12"/>
                    </a:moveTo>
                    <a:cubicBezTo>
                      <a:pt x="2" y="8"/>
                      <a:pt x="1" y="4"/>
                      <a:pt x="0" y="0"/>
                    </a:cubicBezTo>
                    <a:cubicBezTo>
                      <a:pt x="1" y="4"/>
                      <a:pt x="2" y="8"/>
                      <a:pt x="3" y="12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028E0906-42BE-157B-2DB0-840741DA5B3A}"/>
                  </a:ext>
                </a:extLst>
              </p:cNvPr>
              <p:cNvSpPr/>
              <p:nvPr/>
            </p:nvSpPr>
            <p:spPr bwMode="auto">
              <a:xfrm>
                <a:off x="7081838" y="3449638"/>
                <a:ext cx="3175" cy="15875"/>
              </a:xfrm>
              <a:custGeom>
                <a:avLst/>
                <a:gdLst>
                  <a:gd name="T0" fmla="*/ 2 w 2"/>
                  <a:gd name="T1" fmla="*/ 9 h 9"/>
                  <a:gd name="T2" fmla="*/ 0 w 2"/>
                  <a:gd name="T3" fmla="*/ 0 h 9"/>
                  <a:gd name="T4" fmla="*/ 2 w 2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9">
                    <a:moveTo>
                      <a:pt x="2" y="9"/>
                    </a:moveTo>
                    <a:cubicBezTo>
                      <a:pt x="1" y="6"/>
                      <a:pt x="0" y="3"/>
                      <a:pt x="0" y="0"/>
                    </a:cubicBezTo>
                    <a:cubicBezTo>
                      <a:pt x="0" y="3"/>
                      <a:pt x="1" y="6"/>
                      <a:pt x="2" y="9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A1AA717B-A7D9-324A-5A04-A08423DE50B4}"/>
                  </a:ext>
                </a:extLst>
              </p:cNvPr>
              <p:cNvSpPr/>
              <p:nvPr/>
            </p:nvSpPr>
            <p:spPr bwMode="auto">
              <a:xfrm>
                <a:off x="7116763" y="3651250"/>
                <a:ext cx="0" cy="15875"/>
              </a:xfrm>
              <a:custGeom>
                <a:avLst/>
                <a:gdLst>
                  <a:gd name="T0" fmla="*/ 9 h 9"/>
                  <a:gd name="T1" fmla="*/ 0 h 9"/>
                  <a:gd name="T2" fmla="*/ 9 h 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9">
                    <a:moveTo>
                      <a:pt x="0" y="9"/>
                    </a:moveTo>
                    <a:cubicBezTo>
                      <a:pt x="0" y="6"/>
                      <a:pt x="0" y="3"/>
                      <a:pt x="0" y="0"/>
                    </a:cubicBezTo>
                    <a:cubicBezTo>
                      <a:pt x="0" y="3"/>
                      <a:pt x="0" y="6"/>
                      <a:pt x="0" y="9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80B1C191-7EEA-1B10-9322-89B4A6A22B5C}"/>
                  </a:ext>
                </a:extLst>
              </p:cNvPr>
              <p:cNvSpPr/>
              <p:nvPr/>
            </p:nvSpPr>
            <p:spPr bwMode="auto">
              <a:xfrm>
                <a:off x="6473825" y="2774950"/>
                <a:ext cx="4763" cy="1588"/>
              </a:xfrm>
              <a:custGeom>
                <a:avLst/>
                <a:gdLst>
                  <a:gd name="T0" fmla="*/ 2 w 2"/>
                  <a:gd name="T1" fmla="*/ 1 h 1"/>
                  <a:gd name="T2" fmla="*/ 0 w 2"/>
                  <a:gd name="T3" fmla="*/ 0 h 1"/>
                  <a:gd name="T4" fmla="*/ 2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cubicBezTo>
                      <a:pt x="1" y="1"/>
                      <a:pt x="0" y="1"/>
                      <a:pt x="0" y="0"/>
                    </a:cubicBezTo>
                    <a:cubicBezTo>
                      <a:pt x="0" y="1"/>
                      <a:pt x="1" y="1"/>
                      <a:pt x="2" y="1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678C5EBD-0BB5-7A47-7B8A-ACD47F44AAFC}"/>
                  </a:ext>
                </a:extLst>
              </p:cNvPr>
              <p:cNvSpPr/>
              <p:nvPr/>
            </p:nvSpPr>
            <p:spPr bwMode="auto">
              <a:xfrm>
                <a:off x="6407150" y="2751138"/>
                <a:ext cx="7938" cy="3175"/>
              </a:xfrm>
              <a:custGeom>
                <a:avLst/>
                <a:gdLst>
                  <a:gd name="T0" fmla="*/ 4 w 4"/>
                  <a:gd name="T1" fmla="*/ 2 h 2"/>
                  <a:gd name="T2" fmla="*/ 0 w 4"/>
                  <a:gd name="T3" fmla="*/ 0 h 2"/>
                  <a:gd name="T4" fmla="*/ 4 w 4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cubicBezTo>
                      <a:pt x="2" y="1"/>
                      <a:pt x="1" y="1"/>
                      <a:pt x="0" y="0"/>
                    </a:cubicBezTo>
                    <a:cubicBezTo>
                      <a:pt x="1" y="1"/>
                      <a:pt x="2" y="1"/>
                      <a:pt x="4" y="2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B3EA63C1-8151-19CE-37D3-7415E45AB009}"/>
                  </a:ext>
                </a:extLst>
              </p:cNvPr>
              <p:cNvSpPr/>
              <p:nvPr/>
            </p:nvSpPr>
            <p:spPr bwMode="auto">
              <a:xfrm>
                <a:off x="6429375" y="2759075"/>
                <a:ext cx="7938" cy="3175"/>
              </a:xfrm>
              <a:custGeom>
                <a:avLst/>
                <a:gdLst>
                  <a:gd name="T0" fmla="*/ 4 w 4"/>
                  <a:gd name="T1" fmla="*/ 2 h 2"/>
                  <a:gd name="T2" fmla="*/ 0 w 4"/>
                  <a:gd name="T3" fmla="*/ 0 h 2"/>
                  <a:gd name="T4" fmla="*/ 4 w 4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cubicBezTo>
                      <a:pt x="2" y="1"/>
                      <a:pt x="1" y="1"/>
                      <a:pt x="0" y="0"/>
                    </a:cubicBezTo>
                    <a:cubicBezTo>
                      <a:pt x="1" y="1"/>
                      <a:pt x="2" y="1"/>
                      <a:pt x="4" y="2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1F52DF55-2ACA-516C-E08B-623BF467CA7C}"/>
                  </a:ext>
                </a:extLst>
              </p:cNvPr>
              <p:cNvSpPr/>
              <p:nvPr/>
            </p:nvSpPr>
            <p:spPr bwMode="auto">
              <a:xfrm>
                <a:off x="6451600" y="2768600"/>
                <a:ext cx="6350" cy="1588"/>
              </a:xfrm>
              <a:custGeom>
                <a:avLst/>
                <a:gdLst>
                  <a:gd name="T0" fmla="*/ 3 w 3"/>
                  <a:gd name="T1" fmla="*/ 1 h 1"/>
                  <a:gd name="T2" fmla="*/ 0 w 3"/>
                  <a:gd name="T3" fmla="*/ 0 h 1"/>
                  <a:gd name="T4" fmla="*/ 3 w 3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1">
                    <a:moveTo>
                      <a:pt x="3" y="1"/>
                    </a:moveTo>
                    <a:cubicBezTo>
                      <a:pt x="2" y="1"/>
                      <a:pt x="1" y="0"/>
                      <a:pt x="0" y="0"/>
                    </a:cubicBezTo>
                    <a:cubicBezTo>
                      <a:pt x="1" y="0"/>
                      <a:pt x="2" y="1"/>
                      <a:pt x="3" y="1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0BC72830-5619-D150-B472-1B1ECDF5C393}"/>
                  </a:ext>
                </a:extLst>
              </p:cNvPr>
              <p:cNvSpPr/>
              <p:nvPr/>
            </p:nvSpPr>
            <p:spPr bwMode="auto">
              <a:xfrm>
                <a:off x="6550025" y="2809875"/>
                <a:ext cx="7938" cy="4763"/>
              </a:xfrm>
              <a:custGeom>
                <a:avLst/>
                <a:gdLst>
                  <a:gd name="T0" fmla="*/ 4 w 4"/>
                  <a:gd name="T1" fmla="*/ 2 h 2"/>
                  <a:gd name="T2" fmla="*/ 0 w 4"/>
                  <a:gd name="T3" fmla="*/ 0 h 2"/>
                  <a:gd name="T4" fmla="*/ 4 w 4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cubicBezTo>
                      <a:pt x="3" y="1"/>
                      <a:pt x="2" y="1"/>
                      <a:pt x="0" y="0"/>
                    </a:cubicBezTo>
                    <a:cubicBezTo>
                      <a:pt x="2" y="1"/>
                      <a:pt x="3" y="1"/>
                      <a:pt x="4" y="2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11188113-E732-CDCD-0D12-8C5C8F0A4617}"/>
                  </a:ext>
                </a:extLst>
              </p:cNvPr>
              <p:cNvSpPr/>
              <p:nvPr/>
            </p:nvSpPr>
            <p:spPr bwMode="auto">
              <a:xfrm>
                <a:off x="6534150" y="2803525"/>
                <a:ext cx="1588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2C233089-51F7-3983-80C1-DDD04052664A}"/>
                  </a:ext>
                </a:extLst>
              </p:cNvPr>
              <p:cNvSpPr/>
              <p:nvPr/>
            </p:nvSpPr>
            <p:spPr bwMode="auto">
              <a:xfrm>
                <a:off x="6253163" y="4727575"/>
                <a:ext cx="65088" cy="11113"/>
              </a:xfrm>
              <a:custGeom>
                <a:avLst/>
                <a:gdLst>
                  <a:gd name="T0" fmla="*/ 0 w 35"/>
                  <a:gd name="T1" fmla="*/ 6 h 6"/>
                  <a:gd name="T2" fmla="*/ 0 w 35"/>
                  <a:gd name="T3" fmla="*/ 6 h 6"/>
                  <a:gd name="T4" fmla="*/ 35 w 35"/>
                  <a:gd name="T5" fmla="*/ 0 h 6"/>
                  <a:gd name="T6" fmla="*/ 0 w 35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" h="6">
                    <a:moveTo>
                      <a:pt x="0" y="6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12" y="4"/>
                      <a:pt x="23" y="2"/>
                      <a:pt x="35" y="0"/>
                    </a:cubicBezTo>
                    <a:cubicBezTo>
                      <a:pt x="23" y="2"/>
                      <a:pt x="12" y="4"/>
                      <a:pt x="0" y="6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34E9FB3A-326C-5CEF-985A-B89F50F3CF4A}"/>
                  </a:ext>
                </a:extLst>
              </p:cNvPr>
              <p:cNvSpPr/>
              <p:nvPr/>
            </p:nvSpPr>
            <p:spPr bwMode="auto">
              <a:xfrm>
                <a:off x="6383338" y="2746375"/>
                <a:ext cx="9525" cy="1588"/>
              </a:xfrm>
              <a:custGeom>
                <a:avLst/>
                <a:gdLst>
                  <a:gd name="T0" fmla="*/ 5 w 5"/>
                  <a:gd name="T1" fmla="*/ 1 h 1"/>
                  <a:gd name="T2" fmla="*/ 0 w 5"/>
                  <a:gd name="T3" fmla="*/ 0 h 1"/>
                  <a:gd name="T4" fmla="*/ 5 w 5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">
                    <a:moveTo>
                      <a:pt x="5" y="1"/>
                    </a:moveTo>
                    <a:cubicBezTo>
                      <a:pt x="3" y="1"/>
                      <a:pt x="2" y="0"/>
                      <a:pt x="0" y="0"/>
                    </a:cubicBezTo>
                    <a:cubicBezTo>
                      <a:pt x="2" y="0"/>
                      <a:pt x="3" y="1"/>
                      <a:pt x="5" y="1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4D441080-C7DF-1272-8FA2-CAC48F79F36A}"/>
                  </a:ext>
                </a:extLst>
              </p:cNvPr>
              <p:cNvSpPr/>
              <p:nvPr/>
            </p:nvSpPr>
            <p:spPr bwMode="auto">
              <a:xfrm>
                <a:off x="6570663" y="2820988"/>
                <a:ext cx="7938" cy="4763"/>
              </a:xfrm>
              <a:custGeom>
                <a:avLst/>
                <a:gdLst>
                  <a:gd name="T0" fmla="*/ 4 w 4"/>
                  <a:gd name="T1" fmla="*/ 2 h 2"/>
                  <a:gd name="T2" fmla="*/ 0 w 4"/>
                  <a:gd name="T3" fmla="*/ 0 h 2"/>
                  <a:gd name="T4" fmla="*/ 4 w 4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cubicBezTo>
                      <a:pt x="3" y="1"/>
                      <a:pt x="1" y="0"/>
                      <a:pt x="0" y="0"/>
                    </a:cubicBezTo>
                    <a:cubicBezTo>
                      <a:pt x="1" y="0"/>
                      <a:pt x="3" y="1"/>
                      <a:pt x="4" y="2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3F1C1110-07DE-196B-073A-64E453907514}"/>
                  </a:ext>
                </a:extLst>
              </p:cNvPr>
              <p:cNvSpPr/>
              <p:nvPr/>
            </p:nvSpPr>
            <p:spPr bwMode="auto">
              <a:xfrm>
                <a:off x="5013325" y="1454150"/>
                <a:ext cx="3341688" cy="2273300"/>
              </a:xfrm>
              <a:custGeom>
                <a:avLst/>
                <a:gdLst>
                  <a:gd name="T0" fmla="*/ 583 w 1800"/>
                  <a:gd name="T1" fmla="*/ 673 h 1225"/>
                  <a:gd name="T2" fmla="*/ 668 w 1800"/>
                  <a:gd name="T3" fmla="*/ 680 h 1225"/>
                  <a:gd name="T4" fmla="*/ 900 w 1800"/>
                  <a:gd name="T5" fmla="*/ 650 h 1225"/>
                  <a:gd name="T6" fmla="*/ 1740 w 1800"/>
                  <a:gd name="T7" fmla="*/ 1225 h 1225"/>
                  <a:gd name="T8" fmla="*/ 1800 w 1800"/>
                  <a:gd name="T9" fmla="*/ 900 h 1225"/>
                  <a:gd name="T10" fmla="*/ 900 w 1800"/>
                  <a:gd name="T11" fmla="*/ 0 h 1225"/>
                  <a:gd name="T12" fmla="*/ 0 w 1800"/>
                  <a:gd name="T13" fmla="*/ 900 h 1225"/>
                  <a:gd name="T14" fmla="*/ 36 w 1800"/>
                  <a:gd name="T15" fmla="*/ 1152 h 1225"/>
                  <a:gd name="T16" fmla="*/ 583 w 1800"/>
                  <a:gd name="T17" fmla="*/ 673 h 1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00" h="1225">
                    <a:moveTo>
                      <a:pt x="583" y="673"/>
                    </a:moveTo>
                    <a:cubicBezTo>
                      <a:pt x="612" y="673"/>
                      <a:pt x="640" y="676"/>
                      <a:pt x="668" y="680"/>
                    </a:cubicBezTo>
                    <a:cubicBezTo>
                      <a:pt x="742" y="660"/>
                      <a:pt x="820" y="650"/>
                      <a:pt x="900" y="650"/>
                    </a:cubicBezTo>
                    <a:cubicBezTo>
                      <a:pt x="1283" y="650"/>
                      <a:pt x="1610" y="888"/>
                      <a:pt x="1740" y="1225"/>
                    </a:cubicBezTo>
                    <a:cubicBezTo>
                      <a:pt x="1779" y="1124"/>
                      <a:pt x="1800" y="1015"/>
                      <a:pt x="1800" y="900"/>
                    </a:cubicBezTo>
                    <a:cubicBezTo>
                      <a:pt x="1800" y="403"/>
                      <a:pt x="1397" y="0"/>
                      <a:pt x="900" y="0"/>
                    </a:cubicBezTo>
                    <a:cubicBezTo>
                      <a:pt x="403" y="0"/>
                      <a:pt x="0" y="403"/>
                      <a:pt x="0" y="900"/>
                    </a:cubicBezTo>
                    <a:cubicBezTo>
                      <a:pt x="0" y="988"/>
                      <a:pt x="12" y="1072"/>
                      <a:pt x="36" y="1152"/>
                    </a:cubicBezTo>
                    <a:cubicBezTo>
                      <a:pt x="71" y="882"/>
                      <a:pt x="302" y="673"/>
                      <a:pt x="583" y="673"/>
                    </a:cubicBez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48000" tIns="0" rIns="684000" bIns="612000" numCol="1" anchor="ctr" anchorCtr="1" compatLnSpc="1">
                <a:prstTxWarp prst="textNoShape">
                  <a:avLst/>
                </a:prstTxWarp>
              </a:bodyPr>
              <a:lstStyle/>
              <a:p>
                <a:r>
                  <a:rPr lang="en-US" altLang="zh-CN" sz="24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02</a:t>
                </a:r>
                <a:endParaRPr lang="zh-CN" altLang="en-US" sz="24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BB73A9CD-CB4F-A7D3-0290-B2A7CF10CEEC}"/>
                  </a:ext>
                </a:extLst>
              </p:cNvPr>
              <p:cNvSpPr/>
              <p:nvPr/>
            </p:nvSpPr>
            <p:spPr bwMode="auto">
              <a:xfrm>
                <a:off x="6318250" y="2727325"/>
                <a:ext cx="4763" cy="1588"/>
              </a:xfrm>
              <a:custGeom>
                <a:avLst/>
                <a:gdLst>
                  <a:gd name="T0" fmla="*/ 2 w 2"/>
                  <a:gd name="T1" fmla="*/ 1 h 1"/>
                  <a:gd name="T2" fmla="*/ 0 w 2"/>
                  <a:gd name="T3" fmla="*/ 0 h 1"/>
                  <a:gd name="T4" fmla="*/ 2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cubicBezTo>
                      <a:pt x="1" y="1"/>
                      <a:pt x="1" y="1"/>
                      <a:pt x="0" y="0"/>
                    </a:cubicBezTo>
                    <a:cubicBezTo>
                      <a:pt x="1" y="1"/>
                      <a:pt x="1" y="1"/>
                      <a:pt x="2" y="1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56EA7237-1D60-D3DC-CE39-E19805144043}"/>
                  </a:ext>
                </a:extLst>
              </p:cNvPr>
              <p:cNvSpPr/>
              <p:nvPr/>
            </p:nvSpPr>
            <p:spPr bwMode="auto">
              <a:xfrm>
                <a:off x="6361113" y="2738438"/>
                <a:ext cx="7938" cy="1588"/>
              </a:xfrm>
              <a:custGeom>
                <a:avLst/>
                <a:gdLst>
                  <a:gd name="T0" fmla="*/ 4 w 4"/>
                  <a:gd name="T1" fmla="*/ 1 h 1"/>
                  <a:gd name="T2" fmla="*/ 0 w 4"/>
                  <a:gd name="T3" fmla="*/ 0 h 1"/>
                  <a:gd name="T4" fmla="*/ 4 w 4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">
                    <a:moveTo>
                      <a:pt x="4" y="1"/>
                    </a:moveTo>
                    <a:cubicBezTo>
                      <a:pt x="3" y="1"/>
                      <a:pt x="2" y="1"/>
                      <a:pt x="0" y="0"/>
                    </a:cubicBezTo>
                    <a:cubicBezTo>
                      <a:pt x="2" y="1"/>
                      <a:pt x="3" y="1"/>
                      <a:pt x="4" y="1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8950BA1E-0BCC-1F70-982E-BD0930DA85F5}"/>
                  </a:ext>
                </a:extLst>
              </p:cNvPr>
              <p:cNvSpPr/>
              <p:nvPr/>
            </p:nvSpPr>
            <p:spPr bwMode="auto">
              <a:xfrm>
                <a:off x="6338888" y="2732088"/>
                <a:ext cx="7938" cy="3175"/>
              </a:xfrm>
              <a:custGeom>
                <a:avLst/>
                <a:gdLst>
                  <a:gd name="T0" fmla="*/ 4 w 4"/>
                  <a:gd name="T1" fmla="*/ 1 h 1"/>
                  <a:gd name="T2" fmla="*/ 0 w 4"/>
                  <a:gd name="T3" fmla="*/ 0 h 1"/>
                  <a:gd name="T4" fmla="*/ 4 w 4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1">
                    <a:moveTo>
                      <a:pt x="4" y="1"/>
                    </a:moveTo>
                    <a:cubicBezTo>
                      <a:pt x="3" y="1"/>
                      <a:pt x="1" y="0"/>
                      <a:pt x="0" y="0"/>
                    </a:cubicBezTo>
                    <a:cubicBezTo>
                      <a:pt x="1" y="0"/>
                      <a:pt x="3" y="1"/>
                      <a:pt x="4" y="1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D848C597-5DB5-CBF9-6074-5BEF543368A9}"/>
                  </a:ext>
                </a:extLst>
              </p:cNvPr>
              <p:cNvSpPr/>
              <p:nvPr/>
            </p:nvSpPr>
            <p:spPr bwMode="auto">
              <a:xfrm>
                <a:off x="6689725" y="2894013"/>
                <a:ext cx="3175" cy="1588"/>
              </a:xfrm>
              <a:custGeom>
                <a:avLst/>
                <a:gdLst>
                  <a:gd name="T0" fmla="*/ 2 w 2"/>
                  <a:gd name="T1" fmla="*/ 1 h 1"/>
                  <a:gd name="T2" fmla="*/ 0 w 2"/>
                  <a:gd name="T3" fmla="*/ 0 h 1"/>
                  <a:gd name="T4" fmla="*/ 2 w 2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cubicBezTo>
                      <a:pt x="1" y="1"/>
                      <a:pt x="1" y="0"/>
                      <a:pt x="0" y="0"/>
                    </a:cubicBezTo>
                    <a:cubicBezTo>
                      <a:pt x="1" y="0"/>
                      <a:pt x="1" y="1"/>
                      <a:pt x="2" y="1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BF6443DF-81DB-95B8-B29D-38C4E7C94400}"/>
                  </a:ext>
                </a:extLst>
              </p:cNvPr>
              <p:cNvSpPr/>
              <p:nvPr/>
            </p:nvSpPr>
            <p:spPr bwMode="auto">
              <a:xfrm>
                <a:off x="6789738" y="2973388"/>
                <a:ext cx="7938" cy="7938"/>
              </a:xfrm>
              <a:custGeom>
                <a:avLst/>
                <a:gdLst>
                  <a:gd name="T0" fmla="*/ 4 w 4"/>
                  <a:gd name="T1" fmla="*/ 4 h 4"/>
                  <a:gd name="T2" fmla="*/ 0 w 4"/>
                  <a:gd name="T3" fmla="*/ 0 h 4"/>
                  <a:gd name="T4" fmla="*/ 4 w 4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cubicBezTo>
                      <a:pt x="2" y="3"/>
                      <a:pt x="1" y="2"/>
                      <a:pt x="0" y="0"/>
                    </a:cubicBezTo>
                    <a:cubicBezTo>
                      <a:pt x="1" y="2"/>
                      <a:pt x="2" y="3"/>
                      <a:pt x="4" y="4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93918664-611C-F20E-61AB-216F3161592F}"/>
                  </a:ext>
                </a:extLst>
              </p:cNvPr>
              <p:cNvSpPr/>
              <p:nvPr/>
            </p:nvSpPr>
            <p:spPr bwMode="auto">
              <a:xfrm>
                <a:off x="6772275" y="2959100"/>
                <a:ext cx="6350" cy="7938"/>
              </a:xfrm>
              <a:custGeom>
                <a:avLst/>
                <a:gdLst>
                  <a:gd name="T0" fmla="*/ 4 w 4"/>
                  <a:gd name="T1" fmla="*/ 4 h 4"/>
                  <a:gd name="T2" fmla="*/ 0 w 4"/>
                  <a:gd name="T3" fmla="*/ 0 h 4"/>
                  <a:gd name="T4" fmla="*/ 4 w 4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cubicBezTo>
                      <a:pt x="3" y="2"/>
                      <a:pt x="2" y="1"/>
                      <a:pt x="0" y="0"/>
                    </a:cubicBezTo>
                    <a:cubicBezTo>
                      <a:pt x="2" y="1"/>
                      <a:pt x="3" y="2"/>
                      <a:pt x="4" y="4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49828931-AC27-FD38-D1DE-6DB44CF0A332}"/>
                  </a:ext>
                </a:extLst>
              </p:cNvPr>
              <p:cNvSpPr/>
              <p:nvPr/>
            </p:nvSpPr>
            <p:spPr bwMode="auto">
              <a:xfrm>
                <a:off x="6738938" y="2928938"/>
                <a:ext cx="4763" cy="6350"/>
              </a:xfrm>
              <a:custGeom>
                <a:avLst/>
                <a:gdLst>
                  <a:gd name="T0" fmla="*/ 3 w 3"/>
                  <a:gd name="T1" fmla="*/ 3 h 3"/>
                  <a:gd name="T2" fmla="*/ 0 w 3"/>
                  <a:gd name="T3" fmla="*/ 0 h 3"/>
                  <a:gd name="T4" fmla="*/ 3 w 3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cubicBezTo>
                      <a:pt x="2" y="2"/>
                      <a:pt x="1" y="1"/>
                      <a:pt x="0" y="0"/>
                    </a:cubicBezTo>
                    <a:cubicBezTo>
                      <a:pt x="1" y="1"/>
                      <a:pt x="2" y="2"/>
                      <a:pt x="3" y="3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30507786-6081-5FE9-FC3C-12379802C9E7}"/>
                  </a:ext>
                </a:extLst>
              </p:cNvPr>
              <p:cNvSpPr/>
              <p:nvPr/>
            </p:nvSpPr>
            <p:spPr bwMode="auto">
              <a:xfrm>
                <a:off x="6754813" y="2944813"/>
                <a:ext cx="7938" cy="4763"/>
              </a:xfrm>
              <a:custGeom>
                <a:avLst/>
                <a:gdLst>
                  <a:gd name="T0" fmla="*/ 4 w 4"/>
                  <a:gd name="T1" fmla="*/ 3 h 3"/>
                  <a:gd name="T2" fmla="*/ 0 w 4"/>
                  <a:gd name="T3" fmla="*/ 0 h 3"/>
                  <a:gd name="T4" fmla="*/ 4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cubicBezTo>
                      <a:pt x="3" y="2"/>
                      <a:pt x="1" y="1"/>
                      <a:pt x="0" y="0"/>
                    </a:cubicBezTo>
                    <a:cubicBezTo>
                      <a:pt x="1" y="1"/>
                      <a:pt x="3" y="2"/>
                      <a:pt x="4" y="3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C4C7E843-4680-A938-6C50-709DF4816790}"/>
                  </a:ext>
                </a:extLst>
              </p:cNvPr>
              <p:cNvSpPr/>
              <p:nvPr/>
            </p:nvSpPr>
            <p:spPr bwMode="auto">
              <a:xfrm>
                <a:off x="6807200" y="2990850"/>
                <a:ext cx="6350" cy="7938"/>
              </a:xfrm>
              <a:custGeom>
                <a:avLst/>
                <a:gdLst>
                  <a:gd name="T0" fmla="*/ 4 w 4"/>
                  <a:gd name="T1" fmla="*/ 4 h 4"/>
                  <a:gd name="T2" fmla="*/ 0 w 4"/>
                  <a:gd name="T3" fmla="*/ 0 h 4"/>
                  <a:gd name="T4" fmla="*/ 4 w 4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cubicBezTo>
                      <a:pt x="2" y="3"/>
                      <a:pt x="1" y="1"/>
                      <a:pt x="0" y="0"/>
                    </a:cubicBezTo>
                    <a:cubicBezTo>
                      <a:pt x="1" y="1"/>
                      <a:pt x="2" y="3"/>
                      <a:pt x="4" y="4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7212F4C6-83B4-0616-11DE-357557B0ACE6}"/>
                  </a:ext>
                </a:extLst>
              </p:cNvPr>
              <p:cNvSpPr/>
              <p:nvPr/>
            </p:nvSpPr>
            <p:spPr bwMode="auto">
              <a:xfrm>
                <a:off x="6823075" y="3006725"/>
                <a:ext cx="7938" cy="7938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4 h 4"/>
                  <a:gd name="T4" fmla="*/ 0 w 4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cubicBezTo>
                      <a:pt x="1" y="1"/>
                      <a:pt x="2" y="3"/>
                      <a:pt x="4" y="4"/>
                    </a:cubicBezTo>
                    <a:cubicBezTo>
                      <a:pt x="2" y="3"/>
                      <a:pt x="1" y="1"/>
                      <a:pt x="0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84DF16CA-04FD-635E-E9CE-803B21C58970}"/>
                  </a:ext>
                </a:extLst>
              </p:cNvPr>
              <p:cNvSpPr/>
              <p:nvPr/>
            </p:nvSpPr>
            <p:spPr bwMode="auto">
              <a:xfrm>
                <a:off x="6670675" y="2881313"/>
                <a:ext cx="6350" cy="3175"/>
              </a:xfrm>
              <a:custGeom>
                <a:avLst/>
                <a:gdLst>
                  <a:gd name="T0" fmla="*/ 3 w 3"/>
                  <a:gd name="T1" fmla="*/ 2 h 2"/>
                  <a:gd name="T2" fmla="*/ 0 w 3"/>
                  <a:gd name="T3" fmla="*/ 0 h 2"/>
                  <a:gd name="T4" fmla="*/ 3 w 3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cubicBezTo>
                      <a:pt x="2" y="1"/>
                      <a:pt x="1" y="0"/>
                      <a:pt x="0" y="0"/>
                    </a:cubicBezTo>
                    <a:cubicBezTo>
                      <a:pt x="1" y="0"/>
                      <a:pt x="2" y="1"/>
                      <a:pt x="3" y="2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11EB85FA-3751-02D4-A87D-4199E5F5B24E}"/>
                  </a:ext>
                </a:extLst>
              </p:cNvPr>
              <p:cNvSpPr/>
              <p:nvPr/>
            </p:nvSpPr>
            <p:spPr bwMode="auto">
              <a:xfrm>
                <a:off x="6632575" y="2855913"/>
                <a:ext cx="7938" cy="4763"/>
              </a:xfrm>
              <a:custGeom>
                <a:avLst/>
                <a:gdLst>
                  <a:gd name="T0" fmla="*/ 4 w 4"/>
                  <a:gd name="T1" fmla="*/ 3 h 3"/>
                  <a:gd name="T2" fmla="*/ 0 w 4"/>
                  <a:gd name="T3" fmla="*/ 0 h 3"/>
                  <a:gd name="T4" fmla="*/ 4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cubicBezTo>
                      <a:pt x="2" y="2"/>
                      <a:pt x="1" y="1"/>
                      <a:pt x="0" y="0"/>
                    </a:cubicBezTo>
                    <a:cubicBezTo>
                      <a:pt x="1" y="1"/>
                      <a:pt x="2" y="2"/>
                      <a:pt x="4" y="3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433C92CC-70D2-B16D-F115-D0801FFAE115}"/>
                  </a:ext>
                </a:extLst>
              </p:cNvPr>
              <p:cNvSpPr/>
              <p:nvPr/>
            </p:nvSpPr>
            <p:spPr bwMode="auto">
              <a:xfrm>
                <a:off x="6611938" y="2844800"/>
                <a:ext cx="7938" cy="3175"/>
              </a:xfrm>
              <a:custGeom>
                <a:avLst/>
                <a:gdLst>
                  <a:gd name="T0" fmla="*/ 4 w 4"/>
                  <a:gd name="T1" fmla="*/ 2 h 2"/>
                  <a:gd name="T2" fmla="*/ 0 w 4"/>
                  <a:gd name="T3" fmla="*/ 0 h 2"/>
                  <a:gd name="T4" fmla="*/ 4 w 4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cubicBezTo>
                      <a:pt x="3" y="1"/>
                      <a:pt x="1" y="0"/>
                      <a:pt x="0" y="0"/>
                    </a:cubicBezTo>
                    <a:cubicBezTo>
                      <a:pt x="1" y="0"/>
                      <a:pt x="3" y="1"/>
                      <a:pt x="4" y="2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32A09773-DA68-5299-EF95-E103E0F916E7}"/>
                  </a:ext>
                </a:extLst>
              </p:cNvPr>
              <p:cNvSpPr/>
              <p:nvPr/>
            </p:nvSpPr>
            <p:spPr bwMode="auto">
              <a:xfrm>
                <a:off x="6651625" y="2868613"/>
                <a:ext cx="6350" cy="3175"/>
              </a:xfrm>
              <a:custGeom>
                <a:avLst/>
                <a:gdLst>
                  <a:gd name="T0" fmla="*/ 4 w 4"/>
                  <a:gd name="T1" fmla="*/ 2 h 2"/>
                  <a:gd name="T2" fmla="*/ 0 w 4"/>
                  <a:gd name="T3" fmla="*/ 0 h 2"/>
                  <a:gd name="T4" fmla="*/ 4 w 4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cubicBezTo>
                      <a:pt x="3" y="1"/>
                      <a:pt x="2" y="1"/>
                      <a:pt x="0" y="0"/>
                    </a:cubicBezTo>
                    <a:cubicBezTo>
                      <a:pt x="2" y="1"/>
                      <a:pt x="3" y="1"/>
                      <a:pt x="4" y="2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303424F5-CB8C-6CD8-FEE4-0C7D3D0F1BF4}"/>
                  </a:ext>
                </a:extLst>
              </p:cNvPr>
              <p:cNvSpPr/>
              <p:nvPr/>
            </p:nvSpPr>
            <p:spPr bwMode="auto">
              <a:xfrm>
                <a:off x="6838950" y="3024188"/>
                <a:ext cx="6350" cy="7938"/>
              </a:xfrm>
              <a:custGeom>
                <a:avLst/>
                <a:gdLst>
                  <a:gd name="T0" fmla="*/ 4 w 4"/>
                  <a:gd name="T1" fmla="*/ 4 h 4"/>
                  <a:gd name="T2" fmla="*/ 0 w 4"/>
                  <a:gd name="T3" fmla="*/ 0 h 4"/>
                  <a:gd name="T4" fmla="*/ 4 w 4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cubicBezTo>
                      <a:pt x="3" y="3"/>
                      <a:pt x="2" y="1"/>
                      <a:pt x="0" y="0"/>
                    </a:cubicBezTo>
                    <a:cubicBezTo>
                      <a:pt x="2" y="1"/>
                      <a:pt x="3" y="3"/>
                      <a:pt x="4" y="4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A0097D1F-3DD4-F864-7E54-97C6F4A074BE}"/>
                  </a:ext>
                </a:extLst>
              </p:cNvPr>
              <p:cNvSpPr/>
              <p:nvPr/>
            </p:nvSpPr>
            <p:spPr bwMode="auto">
              <a:xfrm>
                <a:off x="6591300" y="2830513"/>
                <a:ext cx="7938" cy="6350"/>
              </a:xfrm>
              <a:custGeom>
                <a:avLst/>
                <a:gdLst>
                  <a:gd name="T0" fmla="*/ 4 w 4"/>
                  <a:gd name="T1" fmla="*/ 3 h 3"/>
                  <a:gd name="T2" fmla="*/ 0 w 4"/>
                  <a:gd name="T3" fmla="*/ 0 h 3"/>
                  <a:gd name="T4" fmla="*/ 4 w 4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cubicBezTo>
                      <a:pt x="3" y="2"/>
                      <a:pt x="1" y="1"/>
                      <a:pt x="0" y="0"/>
                    </a:cubicBezTo>
                    <a:cubicBezTo>
                      <a:pt x="1" y="1"/>
                      <a:pt x="3" y="2"/>
                      <a:pt x="4" y="3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0B1FFDAE-FA7A-59D4-8A88-8B2AA7418708}"/>
                  </a:ext>
                </a:extLst>
              </p:cNvPr>
              <p:cNvSpPr/>
              <p:nvPr/>
            </p:nvSpPr>
            <p:spPr bwMode="auto">
              <a:xfrm>
                <a:off x="6724650" y="291941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67AE7EE8-80D6-7475-A346-F8270C300E22}"/>
                  </a:ext>
                </a:extLst>
              </p:cNvPr>
              <p:cNvSpPr/>
              <p:nvPr/>
            </p:nvSpPr>
            <p:spPr bwMode="auto">
              <a:xfrm>
                <a:off x="7112000" y="3603625"/>
                <a:ext cx="1588" cy="12700"/>
              </a:xfrm>
              <a:custGeom>
                <a:avLst/>
                <a:gdLst>
                  <a:gd name="T0" fmla="*/ 1 w 1"/>
                  <a:gd name="T1" fmla="*/ 7 h 7"/>
                  <a:gd name="T2" fmla="*/ 0 w 1"/>
                  <a:gd name="T3" fmla="*/ 0 h 7"/>
                  <a:gd name="T4" fmla="*/ 1 w 1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7">
                    <a:moveTo>
                      <a:pt x="1" y="7"/>
                    </a:moveTo>
                    <a:cubicBezTo>
                      <a:pt x="1" y="5"/>
                      <a:pt x="1" y="2"/>
                      <a:pt x="0" y="0"/>
                    </a:cubicBezTo>
                    <a:cubicBezTo>
                      <a:pt x="1" y="2"/>
                      <a:pt x="1" y="5"/>
                      <a:pt x="1" y="7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B3AAA7A6-55D0-DE77-4B65-AE7B2BDA5DFB}"/>
                  </a:ext>
                </a:extLst>
              </p:cNvPr>
              <p:cNvSpPr/>
              <p:nvPr/>
            </p:nvSpPr>
            <p:spPr bwMode="auto">
              <a:xfrm>
                <a:off x="6724650" y="4525963"/>
                <a:ext cx="14288" cy="7938"/>
              </a:xfrm>
              <a:custGeom>
                <a:avLst/>
                <a:gdLst>
                  <a:gd name="T0" fmla="*/ 0 w 7"/>
                  <a:gd name="T1" fmla="*/ 5 h 5"/>
                  <a:gd name="T2" fmla="*/ 7 w 7"/>
                  <a:gd name="T3" fmla="*/ 0 h 5"/>
                  <a:gd name="T4" fmla="*/ 0 w 7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0" y="5"/>
                    </a:moveTo>
                    <a:cubicBezTo>
                      <a:pt x="3" y="3"/>
                      <a:pt x="5" y="1"/>
                      <a:pt x="7" y="0"/>
                    </a:cubicBezTo>
                    <a:cubicBezTo>
                      <a:pt x="5" y="1"/>
                      <a:pt x="3" y="3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6E252280-7EAB-1422-A988-C011B8876079}"/>
                  </a:ext>
                </a:extLst>
              </p:cNvPr>
              <p:cNvSpPr/>
              <p:nvPr/>
            </p:nvSpPr>
            <p:spPr bwMode="auto">
              <a:xfrm>
                <a:off x="6692900" y="4533900"/>
                <a:ext cx="31750" cy="25400"/>
              </a:xfrm>
              <a:custGeom>
                <a:avLst/>
                <a:gdLst>
                  <a:gd name="T0" fmla="*/ 0 w 17"/>
                  <a:gd name="T1" fmla="*/ 13 h 13"/>
                  <a:gd name="T2" fmla="*/ 17 w 17"/>
                  <a:gd name="T3" fmla="*/ 0 h 13"/>
                  <a:gd name="T4" fmla="*/ 0 w 17"/>
                  <a:gd name="T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13">
                    <a:moveTo>
                      <a:pt x="0" y="13"/>
                    </a:moveTo>
                    <a:cubicBezTo>
                      <a:pt x="6" y="9"/>
                      <a:pt x="11" y="4"/>
                      <a:pt x="17" y="0"/>
                    </a:cubicBezTo>
                    <a:cubicBezTo>
                      <a:pt x="11" y="4"/>
                      <a:pt x="6" y="9"/>
                      <a:pt x="0" y="13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173ABF2A-5D73-340E-E752-805706A335B4}"/>
                  </a:ext>
                </a:extLst>
              </p:cNvPr>
              <p:cNvSpPr/>
              <p:nvPr/>
            </p:nvSpPr>
            <p:spPr bwMode="auto">
              <a:xfrm>
                <a:off x="6762750" y="4495800"/>
                <a:ext cx="9525" cy="9525"/>
              </a:xfrm>
              <a:custGeom>
                <a:avLst/>
                <a:gdLst>
                  <a:gd name="T0" fmla="*/ 0 w 5"/>
                  <a:gd name="T1" fmla="*/ 5 h 5"/>
                  <a:gd name="T2" fmla="*/ 5 w 5"/>
                  <a:gd name="T3" fmla="*/ 0 h 5"/>
                  <a:gd name="T4" fmla="*/ 0 w 5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5">
                    <a:moveTo>
                      <a:pt x="0" y="5"/>
                    </a:moveTo>
                    <a:cubicBezTo>
                      <a:pt x="2" y="3"/>
                      <a:pt x="4" y="2"/>
                      <a:pt x="5" y="0"/>
                    </a:cubicBezTo>
                    <a:cubicBezTo>
                      <a:pt x="4" y="2"/>
                      <a:pt x="2" y="3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70CB6992-B36B-7FED-F78F-175C9760B88A}"/>
                  </a:ext>
                </a:extLst>
              </p:cNvPr>
              <p:cNvSpPr/>
              <p:nvPr/>
            </p:nvSpPr>
            <p:spPr bwMode="auto">
              <a:xfrm>
                <a:off x="7118350" y="3702050"/>
                <a:ext cx="0" cy="25400"/>
              </a:xfrm>
              <a:custGeom>
                <a:avLst/>
                <a:gdLst>
                  <a:gd name="T0" fmla="*/ 14 h 14"/>
                  <a:gd name="T1" fmla="*/ 0 h 14"/>
                  <a:gd name="T2" fmla="*/ 14 h 1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4">
                    <a:moveTo>
                      <a:pt x="0" y="14"/>
                    </a:moveTo>
                    <a:cubicBezTo>
                      <a:pt x="0" y="10"/>
                      <a:pt x="0" y="5"/>
                      <a:pt x="0" y="0"/>
                    </a:cubicBezTo>
                    <a:cubicBezTo>
                      <a:pt x="0" y="5"/>
                      <a:pt x="0" y="10"/>
                      <a:pt x="0" y="14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9287C4EA-511F-1B58-EBDA-47FFD6A726DB}"/>
                  </a:ext>
                </a:extLst>
              </p:cNvPr>
              <p:cNvSpPr/>
              <p:nvPr/>
            </p:nvSpPr>
            <p:spPr bwMode="auto">
              <a:xfrm>
                <a:off x="6657975" y="4573588"/>
                <a:ext cx="12700" cy="9525"/>
              </a:xfrm>
              <a:custGeom>
                <a:avLst/>
                <a:gdLst>
                  <a:gd name="T0" fmla="*/ 0 w 7"/>
                  <a:gd name="T1" fmla="*/ 5 h 5"/>
                  <a:gd name="T2" fmla="*/ 7 w 7"/>
                  <a:gd name="T3" fmla="*/ 0 h 5"/>
                  <a:gd name="T4" fmla="*/ 0 w 7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0" y="5"/>
                    </a:moveTo>
                    <a:cubicBezTo>
                      <a:pt x="2" y="3"/>
                      <a:pt x="5" y="2"/>
                      <a:pt x="7" y="0"/>
                    </a:cubicBezTo>
                    <a:cubicBezTo>
                      <a:pt x="5" y="2"/>
                      <a:pt x="2" y="3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D602B59C-BA25-77D3-6C23-CAFEC17B8E33}"/>
                  </a:ext>
                </a:extLst>
              </p:cNvPr>
              <p:cNvSpPr/>
              <p:nvPr/>
            </p:nvSpPr>
            <p:spPr bwMode="auto">
              <a:xfrm>
                <a:off x="6677025" y="4560888"/>
                <a:ext cx="12700" cy="9525"/>
              </a:xfrm>
              <a:custGeom>
                <a:avLst/>
                <a:gdLst>
                  <a:gd name="T0" fmla="*/ 0 w 7"/>
                  <a:gd name="T1" fmla="*/ 5 h 5"/>
                  <a:gd name="T2" fmla="*/ 7 w 7"/>
                  <a:gd name="T3" fmla="*/ 0 h 5"/>
                  <a:gd name="T4" fmla="*/ 0 w 7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0" y="5"/>
                    </a:moveTo>
                    <a:cubicBezTo>
                      <a:pt x="2" y="4"/>
                      <a:pt x="5" y="2"/>
                      <a:pt x="7" y="0"/>
                    </a:cubicBezTo>
                    <a:cubicBezTo>
                      <a:pt x="5" y="2"/>
                      <a:pt x="2" y="4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188B3DF3-3441-680D-B87E-6CC6D28E48CE}"/>
                  </a:ext>
                </a:extLst>
              </p:cNvPr>
              <p:cNvSpPr/>
              <p:nvPr/>
            </p:nvSpPr>
            <p:spPr bwMode="auto">
              <a:xfrm>
                <a:off x="6797675" y="4464050"/>
                <a:ext cx="9525" cy="9525"/>
              </a:xfrm>
              <a:custGeom>
                <a:avLst/>
                <a:gdLst>
                  <a:gd name="T0" fmla="*/ 0 w 5"/>
                  <a:gd name="T1" fmla="*/ 5 h 5"/>
                  <a:gd name="T2" fmla="*/ 5 w 5"/>
                  <a:gd name="T3" fmla="*/ 0 h 5"/>
                  <a:gd name="T4" fmla="*/ 0 w 5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5">
                    <a:moveTo>
                      <a:pt x="0" y="5"/>
                    </a:moveTo>
                    <a:cubicBezTo>
                      <a:pt x="1" y="3"/>
                      <a:pt x="3" y="2"/>
                      <a:pt x="5" y="0"/>
                    </a:cubicBezTo>
                    <a:cubicBezTo>
                      <a:pt x="3" y="2"/>
                      <a:pt x="1" y="3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A24C6729-7710-F106-623F-6292A913372D}"/>
                  </a:ext>
                </a:extLst>
              </p:cNvPr>
              <p:cNvSpPr/>
              <p:nvPr/>
            </p:nvSpPr>
            <p:spPr bwMode="auto">
              <a:xfrm>
                <a:off x="6831013" y="4430713"/>
                <a:ext cx="7938" cy="9525"/>
              </a:xfrm>
              <a:custGeom>
                <a:avLst/>
                <a:gdLst>
                  <a:gd name="T0" fmla="*/ 0 w 4"/>
                  <a:gd name="T1" fmla="*/ 5 h 5"/>
                  <a:gd name="T2" fmla="*/ 4 w 4"/>
                  <a:gd name="T3" fmla="*/ 0 h 5"/>
                  <a:gd name="T4" fmla="*/ 0 w 4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5">
                    <a:moveTo>
                      <a:pt x="0" y="5"/>
                    </a:moveTo>
                    <a:cubicBezTo>
                      <a:pt x="1" y="4"/>
                      <a:pt x="3" y="2"/>
                      <a:pt x="4" y="0"/>
                    </a:cubicBezTo>
                    <a:cubicBezTo>
                      <a:pt x="3" y="2"/>
                      <a:pt x="1" y="4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40DB82D8-4EDB-8872-AD1C-757CA75046C6}"/>
                  </a:ext>
                </a:extLst>
              </p:cNvPr>
              <p:cNvSpPr/>
              <p:nvPr/>
            </p:nvSpPr>
            <p:spPr bwMode="auto">
              <a:xfrm>
                <a:off x="6778625" y="4479925"/>
                <a:ext cx="11113" cy="7938"/>
              </a:xfrm>
              <a:custGeom>
                <a:avLst/>
                <a:gdLst>
                  <a:gd name="T0" fmla="*/ 0 w 6"/>
                  <a:gd name="T1" fmla="*/ 4 h 4"/>
                  <a:gd name="T2" fmla="*/ 6 w 6"/>
                  <a:gd name="T3" fmla="*/ 0 h 4"/>
                  <a:gd name="T4" fmla="*/ 0 w 6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4">
                    <a:moveTo>
                      <a:pt x="0" y="4"/>
                    </a:moveTo>
                    <a:cubicBezTo>
                      <a:pt x="2" y="3"/>
                      <a:pt x="4" y="1"/>
                      <a:pt x="6" y="0"/>
                    </a:cubicBezTo>
                    <a:cubicBezTo>
                      <a:pt x="4" y="1"/>
                      <a:pt x="2" y="3"/>
                      <a:pt x="0" y="4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46A72FA7-8854-F696-D62E-776370757BD8}"/>
                  </a:ext>
                </a:extLst>
              </p:cNvPr>
              <p:cNvSpPr/>
              <p:nvPr/>
            </p:nvSpPr>
            <p:spPr bwMode="auto">
              <a:xfrm>
                <a:off x="6862763" y="4397375"/>
                <a:ext cx="7938" cy="9525"/>
              </a:xfrm>
              <a:custGeom>
                <a:avLst/>
                <a:gdLst>
                  <a:gd name="T0" fmla="*/ 0 w 4"/>
                  <a:gd name="T1" fmla="*/ 5 h 5"/>
                  <a:gd name="T2" fmla="*/ 4 w 4"/>
                  <a:gd name="T3" fmla="*/ 0 h 5"/>
                  <a:gd name="T4" fmla="*/ 0 w 4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5">
                    <a:moveTo>
                      <a:pt x="0" y="5"/>
                    </a:moveTo>
                    <a:cubicBezTo>
                      <a:pt x="1" y="3"/>
                      <a:pt x="3" y="1"/>
                      <a:pt x="4" y="0"/>
                    </a:cubicBezTo>
                    <a:cubicBezTo>
                      <a:pt x="3" y="1"/>
                      <a:pt x="1" y="3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4B9004BD-B3A4-63D5-324F-6224EAEE7CA1}"/>
                  </a:ext>
                </a:extLst>
              </p:cNvPr>
              <p:cNvSpPr/>
              <p:nvPr/>
            </p:nvSpPr>
            <p:spPr bwMode="auto">
              <a:xfrm>
                <a:off x="6845300" y="4413250"/>
                <a:ext cx="9525" cy="9525"/>
              </a:xfrm>
              <a:custGeom>
                <a:avLst/>
                <a:gdLst>
                  <a:gd name="T0" fmla="*/ 0 w 5"/>
                  <a:gd name="T1" fmla="*/ 5 h 5"/>
                  <a:gd name="T2" fmla="*/ 5 w 5"/>
                  <a:gd name="T3" fmla="*/ 0 h 5"/>
                  <a:gd name="T4" fmla="*/ 0 w 5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5">
                    <a:moveTo>
                      <a:pt x="0" y="5"/>
                    </a:moveTo>
                    <a:cubicBezTo>
                      <a:pt x="2" y="3"/>
                      <a:pt x="3" y="2"/>
                      <a:pt x="5" y="0"/>
                    </a:cubicBezTo>
                    <a:cubicBezTo>
                      <a:pt x="3" y="2"/>
                      <a:pt x="2" y="3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D37CF80C-C345-CDA8-5F94-B835BB68BF7C}"/>
                  </a:ext>
                </a:extLst>
              </p:cNvPr>
              <p:cNvSpPr/>
              <p:nvPr/>
            </p:nvSpPr>
            <p:spPr bwMode="auto">
              <a:xfrm>
                <a:off x="6877050" y="4368800"/>
                <a:ext cx="15875" cy="19050"/>
              </a:xfrm>
              <a:custGeom>
                <a:avLst/>
                <a:gdLst>
                  <a:gd name="T0" fmla="*/ 0 w 8"/>
                  <a:gd name="T1" fmla="*/ 10 h 10"/>
                  <a:gd name="T2" fmla="*/ 8 w 8"/>
                  <a:gd name="T3" fmla="*/ 0 h 10"/>
                  <a:gd name="T4" fmla="*/ 0 w 8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10">
                    <a:moveTo>
                      <a:pt x="0" y="10"/>
                    </a:moveTo>
                    <a:cubicBezTo>
                      <a:pt x="3" y="7"/>
                      <a:pt x="5" y="4"/>
                      <a:pt x="8" y="0"/>
                    </a:cubicBezTo>
                    <a:cubicBezTo>
                      <a:pt x="5" y="4"/>
                      <a:pt x="3" y="7"/>
                      <a:pt x="0" y="1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89BBC6B4-E1B0-B587-00B6-460F9E1F181E}"/>
                  </a:ext>
                </a:extLst>
              </p:cNvPr>
              <p:cNvSpPr/>
              <p:nvPr/>
            </p:nvSpPr>
            <p:spPr bwMode="auto">
              <a:xfrm>
                <a:off x="6640513" y="4586288"/>
                <a:ext cx="11113" cy="9525"/>
              </a:xfrm>
              <a:custGeom>
                <a:avLst/>
                <a:gdLst>
                  <a:gd name="T0" fmla="*/ 0 w 6"/>
                  <a:gd name="T1" fmla="*/ 5 h 5"/>
                  <a:gd name="T2" fmla="*/ 6 w 6"/>
                  <a:gd name="T3" fmla="*/ 0 h 5"/>
                  <a:gd name="T4" fmla="*/ 0 w 6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5">
                    <a:moveTo>
                      <a:pt x="0" y="5"/>
                    </a:moveTo>
                    <a:cubicBezTo>
                      <a:pt x="2" y="3"/>
                      <a:pt x="4" y="2"/>
                      <a:pt x="6" y="0"/>
                    </a:cubicBezTo>
                    <a:cubicBezTo>
                      <a:pt x="4" y="2"/>
                      <a:pt x="2" y="3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2EB1E855-682E-D7D8-C870-3D4EE078610D}"/>
                  </a:ext>
                </a:extLst>
              </p:cNvPr>
              <p:cNvSpPr/>
              <p:nvPr/>
            </p:nvSpPr>
            <p:spPr bwMode="auto">
              <a:xfrm>
                <a:off x="6813550" y="4446588"/>
                <a:ext cx="9525" cy="9525"/>
              </a:xfrm>
              <a:custGeom>
                <a:avLst/>
                <a:gdLst>
                  <a:gd name="T0" fmla="*/ 5 w 5"/>
                  <a:gd name="T1" fmla="*/ 0 h 5"/>
                  <a:gd name="T2" fmla="*/ 0 w 5"/>
                  <a:gd name="T3" fmla="*/ 5 h 5"/>
                  <a:gd name="T4" fmla="*/ 5 w 5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5">
                    <a:moveTo>
                      <a:pt x="5" y="0"/>
                    </a:moveTo>
                    <a:cubicBezTo>
                      <a:pt x="3" y="2"/>
                      <a:pt x="1" y="4"/>
                      <a:pt x="0" y="5"/>
                    </a:cubicBezTo>
                    <a:cubicBezTo>
                      <a:pt x="1" y="4"/>
                      <a:pt x="3" y="2"/>
                      <a:pt x="5" y="0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C50FBBD7-0736-6C2B-8217-F28B2174D803}"/>
                  </a:ext>
                </a:extLst>
              </p:cNvPr>
              <p:cNvSpPr/>
              <p:nvPr/>
            </p:nvSpPr>
            <p:spPr bwMode="auto">
              <a:xfrm>
                <a:off x="6392863" y="4703763"/>
                <a:ext cx="14288" cy="3175"/>
              </a:xfrm>
              <a:custGeom>
                <a:avLst/>
                <a:gdLst>
                  <a:gd name="T0" fmla="*/ 0 w 8"/>
                  <a:gd name="T1" fmla="*/ 2 h 2"/>
                  <a:gd name="T2" fmla="*/ 8 w 8"/>
                  <a:gd name="T3" fmla="*/ 0 h 2"/>
                  <a:gd name="T4" fmla="*/ 0 w 8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cubicBezTo>
                      <a:pt x="2" y="1"/>
                      <a:pt x="5" y="1"/>
                      <a:pt x="8" y="0"/>
                    </a:cubicBezTo>
                    <a:cubicBezTo>
                      <a:pt x="5" y="1"/>
                      <a:pt x="2" y="1"/>
                      <a:pt x="0" y="2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BDBDF365-4AAD-C97D-0BCD-B23120FE6DB9}"/>
                  </a:ext>
                </a:extLst>
              </p:cNvPr>
              <p:cNvSpPr/>
              <p:nvPr/>
            </p:nvSpPr>
            <p:spPr bwMode="auto">
              <a:xfrm>
                <a:off x="6415088" y="4695825"/>
                <a:ext cx="14288" cy="3175"/>
              </a:xfrm>
              <a:custGeom>
                <a:avLst/>
                <a:gdLst>
                  <a:gd name="T0" fmla="*/ 0 w 8"/>
                  <a:gd name="T1" fmla="*/ 2 h 2"/>
                  <a:gd name="T2" fmla="*/ 8 w 8"/>
                  <a:gd name="T3" fmla="*/ 0 h 2"/>
                  <a:gd name="T4" fmla="*/ 0 w 8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cubicBezTo>
                      <a:pt x="2" y="2"/>
                      <a:pt x="5" y="1"/>
                      <a:pt x="8" y="0"/>
                    </a:cubicBezTo>
                    <a:cubicBezTo>
                      <a:pt x="5" y="1"/>
                      <a:pt x="2" y="2"/>
                      <a:pt x="0" y="2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40EECE7F-F211-3E9D-8E86-D849DA0FB17A}"/>
                  </a:ext>
                </a:extLst>
              </p:cNvPr>
              <p:cNvSpPr/>
              <p:nvPr/>
            </p:nvSpPr>
            <p:spPr bwMode="auto">
              <a:xfrm>
                <a:off x="6369050" y="4708525"/>
                <a:ext cx="14288" cy="6350"/>
              </a:xfrm>
              <a:custGeom>
                <a:avLst/>
                <a:gdLst>
                  <a:gd name="T0" fmla="*/ 0 w 8"/>
                  <a:gd name="T1" fmla="*/ 3 h 3"/>
                  <a:gd name="T2" fmla="*/ 8 w 8"/>
                  <a:gd name="T3" fmla="*/ 0 h 3"/>
                  <a:gd name="T4" fmla="*/ 0 w 8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3">
                    <a:moveTo>
                      <a:pt x="0" y="3"/>
                    </a:moveTo>
                    <a:cubicBezTo>
                      <a:pt x="3" y="2"/>
                      <a:pt x="6" y="1"/>
                      <a:pt x="8" y="0"/>
                    </a:cubicBezTo>
                    <a:cubicBezTo>
                      <a:pt x="6" y="1"/>
                      <a:pt x="3" y="2"/>
                      <a:pt x="0" y="3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747B20BD-AB00-B5AE-0846-9A257586C036}"/>
                  </a:ext>
                </a:extLst>
              </p:cNvPr>
              <p:cNvSpPr/>
              <p:nvPr/>
            </p:nvSpPr>
            <p:spPr bwMode="auto">
              <a:xfrm>
                <a:off x="6346825" y="4716463"/>
                <a:ext cx="14288" cy="3175"/>
              </a:xfrm>
              <a:custGeom>
                <a:avLst/>
                <a:gdLst>
                  <a:gd name="T0" fmla="*/ 0 w 8"/>
                  <a:gd name="T1" fmla="*/ 2 h 2"/>
                  <a:gd name="T2" fmla="*/ 8 w 8"/>
                  <a:gd name="T3" fmla="*/ 0 h 2"/>
                  <a:gd name="T4" fmla="*/ 0 w 8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cubicBezTo>
                      <a:pt x="3" y="1"/>
                      <a:pt x="5" y="1"/>
                      <a:pt x="8" y="0"/>
                    </a:cubicBezTo>
                    <a:cubicBezTo>
                      <a:pt x="5" y="1"/>
                      <a:pt x="3" y="1"/>
                      <a:pt x="0" y="2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256DA1DB-0EEB-6E77-4EBB-34BFB0273DC8}"/>
                  </a:ext>
                </a:extLst>
              </p:cNvPr>
              <p:cNvSpPr/>
              <p:nvPr/>
            </p:nvSpPr>
            <p:spPr bwMode="auto">
              <a:xfrm>
                <a:off x="6323013" y="4721225"/>
                <a:ext cx="15875" cy="4763"/>
              </a:xfrm>
              <a:custGeom>
                <a:avLst/>
                <a:gdLst>
                  <a:gd name="T0" fmla="*/ 0 w 9"/>
                  <a:gd name="T1" fmla="*/ 2 h 2"/>
                  <a:gd name="T2" fmla="*/ 9 w 9"/>
                  <a:gd name="T3" fmla="*/ 0 h 2"/>
                  <a:gd name="T4" fmla="*/ 0 w 9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2">
                    <a:moveTo>
                      <a:pt x="0" y="2"/>
                    </a:moveTo>
                    <a:cubicBezTo>
                      <a:pt x="3" y="1"/>
                      <a:pt x="6" y="1"/>
                      <a:pt x="9" y="0"/>
                    </a:cubicBezTo>
                    <a:cubicBezTo>
                      <a:pt x="6" y="1"/>
                      <a:pt x="3" y="1"/>
                      <a:pt x="0" y="2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B753DE4F-BA5B-40EE-5A76-04607F6E6E4E}"/>
                  </a:ext>
                </a:extLst>
              </p:cNvPr>
              <p:cNvSpPr/>
              <p:nvPr/>
            </p:nvSpPr>
            <p:spPr bwMode="auto">
              <a:xfrm>
                <a:off x="6437313" y="4686300"/>
                <a:ext cx="14288" cy="6350"/>
              </a:xfrm>
              <a:custGeom>
                <a:avLst/>
                <a:gdLst>
                  <a:gd name="T0" fmla="*/ 0 w 8"/>
                  <a:gd name="T1" fmla="*/ 3 h 3"/>
                  <a:gd name="T2" fmla="*/ 8 w 8"/>
                  <a:gd name="T3" fmla="*/ 0 h 3"/>
                  <a:gd name="T4" fmla="*/ 0 w 8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3">
                    <a:moveTo>
                      <a:pt x="0" y="3"/>
                    </a:moveTo>
                    <a:cubicBezTo>
                      <a:pt x="2" y="2"/>
                      <a:pt x="5" y="1"/>
                      <a:pt x="8" y="0"/>
                    </a:cubicBezTo>
                    <a:cubicBezTo>
                      <a:pt x="5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BA1BC104-BBB7-F44E-253B-1A7A47728C3D}"/>
                  </a:ext>
                </a:extLst>
              </p:cNvPr>
              <p:cNvSpPr/>
              <p:nvPr/>
            </p:nvSpPr>
            <p:spPr bwMode="auto">
              <a:xfrm>
                <a:off x="6535738" y="4643438"/>
                <a:ext cx="14288" cy="7938"/>
              </a:xfrm>
              <a:custGeom>
                <a:avLst/>
                <a:gdLst>
                  <a:gd name="T0" fmla="*/ 0 w 8"/>
                  <a:gd name="T1" fmla="*/ 4 h 4"/>
                  <a:gd name="T2" fmla="*/ 8 w 8"/>
                  <a:gd name="T3" fmla="*/ 0 h 4"/>
                  <a:gd name="T4" fmla="*/ 0 w 8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4">
                    <a:moveTo>
                      <a:pt x="0" y="4"/>
                    </a:moveTo>
                    <a:cubicBezTo>
                      <a:pt x="3" y="3"/>
                      <a:pt x="6" y="1"/>
                      <a:pt x="8" y="0"/>
                    </a:cubicBezTo>
                    <a:cubicBezTo>
                      <a:pt x="6" y="1"/>
                      <a:pt x="3" y="3"/>
                      <a:pt x="0" y="4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0A20197F-FA81-7828-C51E-63FEB5E56FB7}"/>
                  </a:ext>
                </a:extLst>
              </p:cNvPr>
              <p:cNvSpPr/>
              <p:nvPr/>
            </p:nvSpPr>
            <p:spPr bwMode="auto">
              <a:xfrm>
                <a:off x="6578600" y="4622800"/>
                <a:ext cx="12700" cy="7938"/>
              </a:xfrm>
              <a:custGeom>
                <a:avLst/>
                <a:gdLst>
                  <a:gd name="T0" fmla="*/ 0 w 7"/>
                  <a:gd name="T1" fmla="*/ 4 h 4"/>
                  <a:gd name="T2" fmla="*/ 7 w 7"/>
                  <a:gd name="T3" fmla="*/ 0 h 4"/>
                  <a:gd name="T4" fmla="*/ 0 w 7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4">
                    <a:moveTo>
                      <a:pt x="0" y="4"/>
                    </a:moveTo>
                    <a:cubicBezTo>
                      <a:pt x="2" y="2"/>
                      <a:pt x="5" y="1"/>
                      <a:pt x="7" y="0"/>
                    </a:cubicBezTo>
                    <a:cubicBezTo>
                      <a:pt x="5" y="1"/>
                      <a:pt x="2" y="2"/>
                      <a:pt x="0" y="4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B443B3A7-DAA4-696A-A144-6F767F26E718}"/>
                  </a:ext>
                </a:extLst>
              </p:cNvPr>
              <p:cNvSpPr/>
              <p:nvPr/>
            </p:nvSpPr>
            <p:spPr bwMode="auto">
              <a:xfrm>
                <a:off x="6457950" y="4679950"/>
                <a:ext cx="15875" cy="4763"/>
              </a:xfrm>
              <a:custGeom>
                <a:avLst/>
                <a:gdLst>
                  <a:gd name="T0" fmla="*/ 0 w 9"/>
                  <a:gd name="T1" fmla="*/ 3 h 3"/>
                  <a:gd name="T2" fmla="*/ 9 w 9"/>
                  <a:gd name="T3" fmla="*/ 0 h 3"/>
                  <a:gd name="T4" fmla="*/ 0 w 9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3">
                    <a:moveTo>
                      <a:pt x="0" y="3"/>
                    </a:moveTo>
                    <a:cubicBezTo>
                      <a:pt x="3" y="2"/>
                      <a:pt x="6" y="1"/>
                      <a:pt x="9" y="0"/>
                    </a:cubicBezTo>
                    <a:cubicBezTo>
                      <a:pt x="6" y="1"/>
                      <a:pt x="3" y="2"/>
                      <a:pt x="0" y="3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CA181264-2B22-A7EC-876D-F9DAE3349375}"/>
                  </a:ext>
                </a:extLst>
              </p:cNvPr>
              <p:cNvSpPr/>
              <p:nvPr/>
            </p:nvSpPr>
            <p:spPr bwMode="auto">
              <a:xfrm>
                <a:off x="6599238" y="4611688"/>
                <a:ext cx="12700" cy="7938"/>
              </a:xfrm>
              <a:custGeom>
                <a:avLst/>
                <a:gdLst>
                  <a:gd name="T0" fmla="*/ 0 w 7"/>
                  <a:gd name="T1" fmla="*/ 4 h 4"/>
                  <a:gd name="T2" fmla="*/ 7 w 7"/>
                  <a:gd name="T3" fmla="*/ 0 h 4"/>
                  <a:gd name="T4" fmla="*/ 0 w 7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4">
                    <a:moveTo>
                      <a:pt x="0" y="4"/>
                    </a:moveTo>
                    <a:cubicBezTo>
                      <a:pt x="2" y="2"/>
                      <a:pt x="5" y="1"/>
                      <a:pt x="7" y="0"/>
                    </a:cubicBezTo>
                    <a:cubicBezTo>
                      <a:pt x="5" y="1"/>
                      <a:pt x="2" y="2"/>
                      <a:pt x="0" y="4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06CBBD11-2441-9A82-B329-9F0CF4BAEC13}"/>
                  </a:ext>
                </a:extLst>
              </p:cNvPr>
              <p:cNvSpPr/>
              <p:nvPr/>
            </p:nvSpPr>
            <p:spPr bwMode="auto">
              <a:xfrm>
                <a:off x="6557963" y="4633913"/>
                <a:ext cx="12700" cy="6350"/>
              </a:xfrm>
              <a:custGeom>
                <a:avLst/>
                <a:gdLst>
                  <a:gd name="T0" fmla="*/ 0 w 7"/>
                  <a:gd name="T1" fmla="*/ 3 h 3"/>
                  <a:gd name="T2" fmla="*/ 7 w 7"/>
                  <a:gd name="T3" fmla="*/ 0 h 3"/>
                  <a:gd name="T4" fmla="*/ 0 w 7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3">
                    <a:moveTo>
                      <a:pt x="0" y="3"/>
                    </a:moveTo>
                    <a:cubicBezTo>
                      <a:pt x="2" y="2"/>
                      <a:pt x="5" y="1"/>
                      <a:pt x="7" y="0"/>
                    </a:cubicBezTo>
                    <a:cubicBezTo>
                      <a:pt x="5" y="1"/>
                      <a:pt x="2" y="2"/>
                      <a:pt x="0" y="3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4A254262-E6FF-E7B1-8A2B-78C4202CA07B}"/>
                  </a:ext>
                </a:extLst>
              </p:cNvPr>
              <p:cNvSpPr/>
              <p:nvPr/>
            </p:nvSpPr>
            <p:spPr bwMode="auto">
              <a:xfrm>
                <a:off x="6478588" y="4652963"/>
                <a:ext cx="55563" cy="23813"/>
              </a:xfrm>
              <a:custGeom>
                <a:avLst/>
                <a:gdLst>
                  <a:gd name="T0" fmla="*/ 0 w 30"/>
                  <a:gd name="T1" fmla="*/ 13 h 13"/>
                  <a:gd name="T2" fmla="*/ 30 w 30"/>
                  <a:gd name="T3" fmla="*/ 0 h 13"/>
                  <a:gd name="T4" fmla="*/ 0 w 30"/>
                  <a:gd name="T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13">
                    <a:moveTo>
                      <a:pt x="0" y="13"/>
                    </a:moveTo>
                    <a:cubicBezTo>
                      <a:pt x="10" y="9"/>
                      <a:pt x="20" y="4"/>
                      <a:pt x="30" y="0"/>
                    </a:cubicBezTo>
                    <a:cubicBezTo>
                      <a:pt x="20" y="4"/>
                      <a:pt x="10" y="9"/>
                      <a:pt x="0" y="13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41D7ABED-6668-6B28-CD60-C987FCE2C3DC}"/>
                  </a:ext>
                </a:extLst>
              </p:cNvPr>
              <p:cNvSpPr/>
              <p:nvPr/>
            </p:nvSpPr>
            <p:spPr bwMode="auto">
              <a:xfrm>
                <a:off x="6619875" y="4598988"/>
                <a:ext cx="12700" cy="7938"/>
              </a:xfrm>
              <a:custGeom>
                <a:avLst/>
                <a:gdLst>
                  <a:gd name="T0" fmla="*/ 0 w 7"/>
                  <a:gd name="T1" fmla="*/ 4 h 4"/>
                  <a:gd name="T2" fmla="*/ 7 w 7"/>
                  <a:gd name="T3" fmla="*/ 0 h 4"/>
                  <a:gd name="T4" fmla="*/ 0 w 7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4">
                    <a:moveTo>
                      <a:pt x="0" y="4"/>
                    </a:moveTo>
                    <a:cubicBezTo>
                      <a:pt x="2" y="3"/>
                      <a:pt x="4" y="1"/>
                      <a:pt x="7" y="0"/>
                    </a:cubicBezTo>
                    <a:cubicBezTo>
                      <a:pt x="4" y="1"/>
                      <a:pt x="2" y="3"/>
                      <a:pt x="0" y="4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57C6E8AA-1729-4DC9-B543-A7D949C830B8}"/>
                  </a:ext>
                </a:extLst>
              </p:cNvPr>
              <p:cNvSpPr/>
              <p:nvPr/>
            </p:nvSpPr>
            <p:spPr bwMode="auto">
              <a:xfrm>
                <a:off x="6743700" y="4510088"/>
                <a:ext cx="11113" cy="9525"/>
              </a:xfrm>
              <a:custGeom>
                <a:avLst/>
                <a:gdLst>
                  <a:gd name="T0" fmla="*/ 0 w 6"/>
                  <a:gd name="T1" fmla="*/ 5 h 5"/>
                  <a:gd name="T2" fmla="*/ 6 w 6"/>
                  <a:gd name="T3" fmla="*/ 0 h 5"/>
                  <a:gd name="T4" fmla="*/ 0 w 6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5">
                    <a:moveTo>
                      <a:pt x="0" y="5"/>
                    </a:moveTo>
                    <a:cubicBezTo>
                      <a:pt x="2" y="3"/>
                      <a:pt x="4" y="2"/>
                      <a:pt x="6" y="0"/>
                    </a:cubicBezTo>
                    <a:cubicBezTo>
                      <a:pt x="4" y="2"/>
                      <a:pt x="2" y="3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451C25A2-426C-A1B6-C39F-953C198F5DDF}"/>
                  </a:ext>
                </a:extLst>
              </p:cNvPr>
              <p:cNvSpPr/>
              <p:nvPr/>
            </p:nvSpPr>
            <p:spPr bwMode="auto">
              <a:xfrm>
                <a:off x="7102475" y="3902075"/>
                <a:ext cx="1588" cy="9525"/>
              </a:xfrm>
              <a:custGeom>
                <a:avLst/>
                <a:gdLst>
                  <a:gd name="T0" fmla="*/ 0 w 1"/>
                  <a:gd name="T1" fmla="*/ 5 h 5"/>
                  <a:gd name="T2" fmla="*/ 1 w 1"/>
                  <a:gd name="T3" fmla="*/ 0 h 5"/>
                  <a:gd name="T4" fmla="*/ 0 w 1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5">
                    <a:moveTo>
                      <a:pt x="0" y="5"/>
                    </a:moveTo>
                    <a:cubicBezTo>
                      <a:pt x="1" y="3"/>
                      <a:pt x="1" y="2"/>
                      <a:pt x="1" y="0"/>
                    </a:cubicBezTo>
                    <a:cubicBezTo>
                      <a:pt x="1" y="2"/>
                      <a:pt x="1" y="3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2CB69748-BF8A-04D1-C0D4-B5EB6E891229}"/>
                  </a:ext>
                </a:extLst>
              </p:cNvPr>
              <p:cNvSpPr/>
              <p:nvPr/>
            </p:nvSpPr>
            <p:spPr bwMode="auto">
              <a:xfrm>
                <a:off x="7062788" y="4051300"/>
                <a:ext cx="3175" cy="9525"/>
              </a:xfrm>
              <a:custGeom>
                <a:avLst/>
                <a:gdLst>
                  <a:gd name="T0" fmla="*/ 0 w 2"/>
                  <a:gd name="T1" fmla="*/ 5 h 5"/>
                  <a:gd name="T2" fmla="*/ 2 w 2"/>
                  <a:gd name="T3" fmla="*/ 0 h 5"/>
                  <a:gd name="T4" fmla="*/ 0 w 2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cubicBezTo>
                      <a:pt x="1" y="4"/>
                      <a:pt x="1" y="2"/>
                      <a:pt x="2" y="0"/>
                    </a:cubicBezTo>
                    <a:cubicBezTo>
                      <a:pt x="1" y="2"/>
                      <a:pt x="1" y="4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7AEA9BAB-55C4-5317-CF07-EF407EA04B41}"/>
                  </a:ext>
                </a:extLst>
              </p:cNvPr>
              <p:cNvSpPr/>
              <p:nvPr/>
            </p:nvSpPr>
            <p:spPr bwMode="auto">
              <a:xfrm>
                <a:off x="7097713" y="3925888"/>
                <a:ext cx="1588" cy="9525"/>
              </a:xfrm>
              <a:custGeom>
                <a:avLst/>
                <a:gdLst>
                  <a:gd name="T0" fmla="*/ 0 w 1"/>
                  <a:gd name="T1" fmla="*/ 5 h 5"/>
                  <a:gd name="T2" fmla="*/ 1 w 1"/>
                  <a:gd name="T3" fmla="*/ 0 h 5"/>
                  <a:gd name="T4" fmla="*/ 0 w 1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5">
                    <a:moveTo>
                      <a:pt x="0" y="5"/>
                    </a:moveTo>
                    <a:cubicBezTo>
                      <a:pt x="0" y="4"/>
                      <a:pt x="1" y="2"/>
                      <a:pt x="1" y="0"/>
                    </a:cubicBezTo>
                    <a:cubicBezTo>
                      <a:pt x="1" y="2"/>
                      <a:pt x="0" y="4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1" name="任意多边形: 形状 160">
                <a:extLst>
                  <a:ext uri="{FF2B5EF4-FFF2-40B4-BE49-F238E27FC236}">
                    <a16:creationId xmlns:a16="http://schemas.microsoft.com/office/drawing/2014/main" id="{55F59313-062C-5C7B-018F-0BAC08EC9AE4}"/>
                  </a:ext>
                </a:extLst>
              </p:cNvPr>
              <p:cNvSpPr/>
              <p:nvPr/>
            </p:nvSpPr>
            <p:spPr bwMode="auto">
              <a:xfrm>
                <a:off x="7085013" y="3983038"/>
                <a:ext cx="1588" cy="6350"/>
              </a:xfrm>
              <a:custGeom>
                <a:avLst/>
                <a:gdLst>
                  <a:gd name="T0" fmla="*/ 0 w 1"/>
                  <a:gd name="T1" fmla="*/ 3 h 3"/>
                  <a:gd name="T2" fmla="*/ 1 w 1"/>
                  <a:gd name="T3" fmla="*/ 0 h 3"/>
                  <a:gd name="T4" fmla="*/ 0 w 1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cubicBezTo>
                      <a:pt x="0" y="2"/>
                      <a:pt x="1" y="1"/>
                      <a:pt x="1" y="0"/>
                    </a:cubicBezTo>
                    <a:cubicBezTo>
                      <a:pt x="1" y="1"/>
                      <a:pt x="0" y="2"/>
                      <a:pt x="0" y="3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5483BEDE-E766-78F5-7E84-06D1495118AC}"/>
                  </a:ext>
                </a:extLst>
              </p:cNvPr>
              <p:cNvSpPr/>
              <p:nvPr/>
            </p:nvSpPr>
            <p:spPr bwMode="auto">
              <a:xfrm>
                <a:off x="7077075" y="4005263"/>
                <a:ext cx="4763" cy="9525"/>
              </a:xfrm>
              <a:custGeom>
                <a:avLst/>
                <a:gdLst>
                  <a:gd name="T0" fmla="*/ 0 w 2"/>
                  <a:gd name="T1" fmla="*/ 5 h 5"/>
                  <a:gd name="T2" fmla="*/ 2 w 2"/>
                  <a:gd name="T3" fmla="*/ 0 h 5"/>
                  <a:gd name="T4" fmla="*/ 0 w 2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cubicBezTo>
                      <a:pt x="1" y="3"/>
                      <a:pt x="1" y="2"/>
                      <a:pt x="2" y="0"/>
                    </a:cubicBezTo>
                    <a:cubicBezTo>
                      <a:pt x="1" y="2"/>
                      <a:pt x="1" y="3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3" name="任意多边形: 形状 162">
                <a:extLst>
                  <a:ext uri="{FF2B5EF4-FFF2-40B4-BE49-F238E27FC236}">
                    <a16:creationId xmlns:a16="http://schemas.microsoft.com/office/drawing/2014/main" id="{130CCA14-1D06-994E-6A8A-157515D67EE9}"/>
                  </a:ext>
                </a:extLst>
              </p:cNvPr>
              <p:cNvSpPr/>
              <p:nvPr/>
            </p:nvSpPr>
            <p:spPr bwMode="auto">
              <a:xfrm>
                <a:off x="7070725" y="4029075"/>
                <a:ext cx="3175" cy="9525"/>
              </a:xfrm>
              <a:custGeom>
                <a:avLst/>
                <a:gdLst>
                  <a:gd name="T0" fmla="*/ 0 w 2"/>
                  <a:gd name="T1" fmla="*/ 5 h 5"/>
                  <a:gd name="T2" fmla="*/ 2 w 2"/>
                  <a:gd name="T3" fmla="*/ 0 h 5"/>
                  <a:gd name="T4" fmla="*/ 0 w 2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cubicBezTo>
                      <a:pt x="1" y="3"/>
                      <a:pt x="1" y="1"/>
                      <a:pt x="2" y="0"/>
                    </a:cubicBezTo>
                    <a:cubicBezTo>
                      <a:pt x="1" y="1"/>
                      <a:pt x="1" y="3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4" name="任意多边形: 形状 163">
                <a:extLst>
                  <a:ext uri="{FF2B5EF4-FFF2-40B4-BE49-F238E27FC236}">
                    <a16:creationId xmlns:a16="http://schemas.microsoft.com/office/drawing/2014/main" id="{D567E8C7-454D-1CFB-6955-379BA2A5D51C}"/>
                  </a:ext>
                </a:extLst>
              </p:cNvPr>
              <p:cNvSpPr/>
              <p:nvPr/>
            </p:nvSpPr>
            <p:spPr bwMode="auto">
              <a:xfrm>
                <a:off x="7092950" y="3952875"/>
                <a:ext cx="1588" cy="6350"/>
              </a:xfrm>
              <a:custGeom>
                <a:avLst/>
                <a:gdLst>
                  <a:gd name="T0" fmla="*/ 0 w 1"/>
                  <a:gd name="T1" fmla="*/ 3 h 3"/>
                  <a:gd name="T2" fmla="*/ 1 w 1"/>
                  <a:gd name="T3" fmla="*/ 0 h 3"/>
                  <a:gd name="T4" fmla="*/ 0 w 1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cubicBezTo>
                      <a:pt x="0" y="2"/>
                      <a:pt x="1" y="1"/>
                      <a:pt x="1" y="0"/>
                    </a:cubicBezTo>
                    <a:cubicBezTo>
                      <a:pt x="1" y="1"/>
                      <a:pt x="0" y="2"/>
                      <a:pt x="0" y="3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5" name="任意多边形: 形状 164">
                <a:extLst>
                  <a:ext uri="{FF2B5EF4-FFF2-40B4-BE49-F238E27FC236}">
                    <a16:creationId xmlns:a16="http://schemas.microsoft.com/office/drawing/2014/main" id="{32E20C2C-87A8-E93E-0D69-D589127B95D7}"/>
                  </a:ext>
                </a:extLst>
              </p:cNvPr>
              <p:cNvSpPr/>
              <p:nvPr/>
            </p:nvSpPr>
            <p:spPr bwMode="auto">
              <a:xfrm>
                <a:off x="7107238" y="3878263"/>
                <a:ext cx="0" cy="7938"/>
              </a:xfrm>
              <a:custGeom>
                <a:avLst/>
                <a:gdLst>
                  <a:gd name="T0" fmla="*/ 5 h 5"/>
                  <a:gd name="T1" fmla="*/ 0 h 5"/>
                  <a:gd name="T2" fmla="*/ 5 h 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5">
                    <a:moveTo>
                      <a:pt x="0" y="5"/>
                    </a:moveTo>
                    <a:cubicBezTo>
                      <a:pt x="0" y="3"/>
                      <a:pt x="0" y="2"/>
                      <a:pt x="0" y="0"/>
                    </a:cubicBezTo>
                    <a:cubicBezTo>
                      <a:pt x="0" y="2"/>
                      <a:pt x="0" y="3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0625186C-05A8-8ECA-E8B8-A5805D3EDB3E}"/>
                  </a:ext>
                </a:extLst>
              </p:cNvPr>
              <p:cNvSpPr/>
              <p:nvPr/>
            </p:nvSpPr>
            <p:spPr bwMode="auto">
              <a:xfrm>
                <a:off x="7115175" y="3803650"/>
                <a:ext cx="1588" cy="9525"/>
              </a:xfrm>
              <a:custGeom>
                <a:avLst/>
                <a:gdLst>
                  <a:gd name="T0" fmla="*/ 0 w 1"/>
                  <a:gd name="T1" fmla="*/ 5 h 5"/>
                  <a:gd name="T2" fmla="*/ 1 w 1"/>
                  <a:gd name="T3" fmla="*/ 0 h 5"/>
                  <a:gd name="T4" fmla="*/ 0 w 1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5">
                    <a:moveTo>
                      <a:pt x="0" y="5"/>
                    </a:moveTo>
                    <a:cubicBezTo>
                      <a:pt x="1" y="3"/>
                      <a:pt x="1" y="2"/>
                      <a:pt x="1" y="0"/>
                    </a:cubicBezTo>
                    <a:cubicBezTo>
                      <a:pt x="1" y="2"/>
                      <a:pt x="1" y="3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7" name="任意多边形: 形状 166">
                <a:extLst>
                  <a:ext uri="{FF2B5EF4-FFF2-40B4-BE49-F238E27FC236}">
                    <a16:creationId xmlns:a16="http://schemas.microsoft.com/office/drawing/2014/main" id="{DCF48365-03F4-D783-3B64-9D5CBE0D3B71}"/>
                  </a:ext>
                </a:extLst>
              </p:cNvPr>
              <p:cNvSpPr/>
              <p:nvPr/>
            </p:nvSpPr>
            <p:spPr bwMode="auto">
              <a:xfrm>
                <a:off x="7118350" y="3752850"/>
                <a:ext cx="0" cy="7938"/>
              </a:xfrm>
              <a:custGeom>
                <a:avLst/>
                <a:gdLst>
                  <a:gd name="T0" fmla="*/ 4 h 4"/>
                  <a:gd name="T1" fmla="*/ 0 h 4"/>
                  <a:gd name="T2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cubicBezTo>
                      <a:pt x="0" y="3"/>
                      <a:pt x="0" y="1"/>
                      <a:pt x="0" y="0"/>
                    </a:cubicBezTo>
                    <a:cubicBezTo>
                      <a:pt x="0" y="1"/>
                      <a:pt x="0" y="3"/>
                      <a:pt x="0" y="4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8" name="任意多边形: 形状 167">
                <a:extLst>
                  <a:ext uri="{FF2B5EF4-FFF2-40B4-BE49-F238E27FC236}">
                    <a16:creationId xmlns:a16="http://schemas.microsoft.com/office/drawing/2014/main" id="{2B9BE9D4-E0E9-99C9-8C9E-A8910FD53769}"/>
                  </a:ext>
                </a:extLst>
              </p:cNvPr>
              <p:cNvSpPr/>
              <p:nvPr/>
            </p:nvSpPr>
            <p:spPr bwMode="auto">
              <a:xfrm>
                <a:off x="7116763" y="3776663"/>
                <a:ext cx="1588" cy="9525"/>
              </a:xfrm>
              <a:custGeom>
                <a:avLst/>
                <a:gdLst>
                  <a:gd name="T0" fmla="*/ 0 w 1"/>
                  <a:gd name="T1" fmla="*/ 5 h 5"/>
                  <a:gd name="T2" fmla="*/ 1 w 1"/>
                  <a:gd name="T3" fmla="*/ 0 h 5"/>
                  <a:gd name="T4" fmla="*/ 0 w 1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5">
                    <a:moveTo>
                      <a:pt x="0" y="5"/>
                    </a:moveTo>
                    <a:cubicBezTo>
                      <a:pt x="0" y="4"/>
                      <a:pt x="1" y="2"/>
                      <a:pt x="1" y="0"/>
                    </a:cubicBezTo>
                    <a:cubicBezTo>
                      <a:pt x="1" y="2"/>
                      <a:pt x="0" y="4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9" name="任意多边形: 形状 168">
                <a:extLst>
                  <a:ext uri="{FF2B5EF4-FFF2-40B4-BE49-F238E27FC236}">
                    <a16:creationId xmlns:a16="http://schemas.microsoft.com/office/drawing/2014/main" id="{888B8EE6-1F8D-5602-D120-C8E8A5070050}"/>
                  </a:ext>
                </a:extLst>
              </p:cNvPr>
              <p:cNvSpPr/>
              <p:nvPr/>
            </p:nvSpPr>
            <p:spPr bwMode="auto">
              <a:xfrm>
                <a:off x="7113588" y="3827463"/>
                <a:ext cx="1588" cy="11113"/>
              </a:xfrm>
              <a:custGeom>
                <a:avLst/>
                <a:gdLst>
                  <a:gd name="T0" fmla="*/ 0 w 1"/>
                  <a:gd name="T1" fmla="*/ 6 h 6"/>
                  <a:gd name="T2" fmla="*/ 1 w 1"/>
                  <a:gd name="T3" fmla="*/ 0 h 6"/>
                  <a:gd name="T4" fmla="*/ 0 w 1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6">
                    <a:moveTo>
                      <a:pt x="0" y="6"/>
                    </a:moveTo>
                    <a:cubicBezTo>
                      <a:pt x="0" y="4"/>
                      <a:pt x="1" y="2"/>
                      <a:pt x="1" y="0"/>
                    </a:cubicBezTo>
                    <a:cubicBezTo>
                      <a:pt x="1" y="2"/>
                      <a:pt x="0" y="4"/>
                      <a:pt x="0" y="6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0" name="任意多边形: 形状 169">
                <a:extLst>
                  <a:ext uri="{FF2B5EF4-FFF2-40B4-BE49-F238E27FC236}">
                    <a16:creationId xmlns:a16="http://schemas.microsoft.com/office/drawing/2014/main" id="{59D3569C-E88B-BB3F-1735-4E688F56F4C6}"/>
                  </a:ext>
                </a:extLst>
              </p:cNvPr>
              <p:cNvSpPr/>
              <p:nvPr/>
            </p:nvSpPr>
            <p:spPr bwMode="auto">
              <a:xfrm>
                <a:off x="7112000" y="3851275"/>
                <a:ext cx="0" cy="11113"/>
              </a:xfrm>
              <a:custGeom>
                <a:avLst/>
                <a:gdLst>
                  <a:gd name="T0" fmla="*/ 6 h 6"/>
                  <a:gd name="T1" fmla="*/ 0 h 6"/>
                  <a:gd name="T2" fmla="*/ 6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">
                    <a:moveTo>
                      <a:pt x="0" y="6"/>
                    </a:moveTo>
                    <a:cubicBezTo>
                      <a:pt x="0" y="4"/>
                      <a:pt x="0" y="2"/>
                      <a:pt x="0" y="0"/>
                    </a:cubicBezTo>
                    <a:cubicBezTo>
                      <a:pt x="0" y="2"/>
                      <a:pt x="0" y="4"/>
                      <a:pt x="0" y="6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1" name="任意多边形: 形状 170">
                <a:extLst>
                  <a:ext uri="{FF2B5EF4-FFF2-40B4-BE49-F238E27FC236}">
                    <a16:creationId xmlns:a16="http://schemas.microsoft.com/office/drawing/2014/main" id="{BC967A39-F848-A4F0-9D6E-0E668DE78602}"/>
                  </a:ext>
                </a:extLst>
              </p:cNvPr>
              <p:cNvSpPr/>
              <p:nvPr/>
            </p:nvSpPr>
            <p:spPr bwMode="auto">
              <a:xfrm>
                <a:off x="7046913" y="4095750"/>
                <a:ext cx="3175" cy="12700"/>
              </a:xfrm>
              <a:custGeom>
                <a:avLst/>
                <a:gdLst>
                  <a:gd name="T0" fmla="*/ 0 w 2"/>
                  <a:gd name="T1" fmla="*/ 6 h 6"/>
                  <a:gd name="T2" fmla="*/ 2 w 2"/>
                  <a:gd name="T3" fmla="*/ 0 h 6"/>
                  <a:gd name="T4" fmla="*/ 0 w 2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cubicBezTo>
                      <a:pt x="1" y="4"/>
                      <a:pt x="2" y="2"/>
                      <a:pt x="2" y="0"/>
                    </a:cubicBezTo>
                    <a:cubicBezTo>
                      <a:pt x="2" y="2"/>
                      <a:pt x="1" y="4"/>
                      <a:pt x="0" y="6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2" name="任意多边形: 形状 171">
                <a:extLst>
                  <a:ext uri="{FF2B5EF4-FFF2-40B4-BE49-F238E27FC236}">
                    <a16:creationId xmlns:a16="http://schemas.microsoft.com/office/drawing/2014/main" id="{92D9075F-B7E8-A77F-F3EA-B2886B5F6E0C}"/>
                  </a:ext>
                </a:extLst>
              </p:cNvPr>
              <p:cNvSpPr/>
              <p:nvPr/>
            </p:nvSpPr>
            <p:spPr bwMode="auto">
              <a:xfrm>
                <a:off x="6953250" y="4275138"/>
                <a:ext cx="7938" cy="9525"/>
              </a:xfrm>
              <a:custGeom>
                <a:avLst/>
                <a:gdLst>
                  <a:gd name="T0" fmla="*/ 0 w 4"/>
                  <a:gd name="T1" fmla="*/ 5 h 5"/>
                  <a:gd name="T2" fmla="*/ 4 w 4"/>
                  <a:gd name="T3" fmla="*/ 0 h 5"/>
                  <a:gd name="T4" fmla="*/ 0 w 4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5">
                    <a:moveTo>
                      <a:pt x="0" y="5"/>
                    </a:moveTo>
                    <a:cubicBezTo>
                      <a:pt x="2" y="4"/>
                      <a:pt x="3" y="2"/>
                      <a:pt x="4" y="0"/>
                    </a:cubicBezTo>
                    <a:cubicBezTo>
                      <a:pt x="3" y="2"/>
                      <a:pt x="2" y="4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3" name="任意多边形: 形状 172">
                <a:extLst>
                  <a:ext uri="{FF2B5EF4-FFF2-40B4-BE49-F238E27FC236}">
                    <a16:creationId xmlns:a16="http://schemas.microsoft.com/office/drawing/2014/main" id="{4ACB9119-0684-85DF-4D82-1716246DE883}"/>
                  </a:ext>
                </a:extLst>
              </p:cNvPr>
              <p:cNvSpPr/>
              <p:nvPr/>
            </p:nvSpPr>
            <p:spPr bwMode="auto">
              <a:xfrm>
                <a:off x="6965950" y="4254500"/>
                <a:ext cx="6350" cy="11113"/>
              </a:xfrm>
              <a:custGeom>
                <a:avLst/>
                <a:gdLst>
                  <a:gd name="T0" fmla="*/ 0 w 3"/>
                  <a:gd name="T1" fmla="*/ 6 h 6"/>
                  <a:gd name="T2" fmla="*/ 3 w 3"/>
                  <a:gd name="T3" fmla="*/ 0 h 6"/>
                  <a:gd name="T4" fmla="*/ 0 w 3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6">
                    <a:moveTo>
                      <a:pt x="0" y="6"/>
                    </a:moveTo>
                    <a:cubicBezTo>
                      <a:pt x="1" y="4"/>
                      <a:pt x="2" y="2"/>
                      <a:pt x="3" y="0"/>
                    </a:cubicBezTo>
                    <a:cubicBezTo>
                      <a:pt x="2" y="2"/>
                      <a:pt x="1" y="4"/>
                      <a:pt x="0" y="6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4" name="任意多边形: 形状 173">
                <a:extLst>
                  <a:ext uri="{FF2B5EF4-FFF2-40B4-BE49-F238E27FC236}">
                    <a16:creationId xmlns:a16="http://schemas.microsoft.com/office/drawing/2014/main" id="{BD5B390F-06F8-FE01-CE25-94662659C45C}"/>
                  </a:ext>
                </a:extLst>
              </p:cNvPr>
              <p:cNvSpPr/>
              <p:nvPr/>
            </p:nvSpPr>
            <p:spPr bwMode="auto">
              <a:xfrm>
                <a:off x="6940550" y="4295775"/>
                <a:ext cx="7938" cy="7938"/>
              </a:xfrm>
              <a:custGeom>
                <a:avLst/>
                <a:gdLst>
                  <a:gd name="T0" fmla="*/ 0 w 4"/>
                  <a:gd name="T1" fmla="*/ 5 h 5"/>
                  <a:gd name="T2" fmla="*/ 4 w 4"/>
                  <a:gd name="T3" fmla="*/ 0 h 5"/>
                  <a:gd name="T4" fmla="*/ 0 w 4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5">
                    <a:moveTo>
                      <a:pt x="0" y="5"/>
                    </a:moveTo>
                    <a:cubicBezTo>
                      <a:pt x="2" y="3"/>
                      <a:pt x="3" y="2"/>
                      <a:pt x="4" y="0"/>
                    </a:cubicBezTo>
                    <a:cubicBezTo>
                      <a:pt x="3" y="2"/>
                      <a:pt x="2" y="3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5" name="任意多边形: 形状 174">
                <a:extLst>
                  <a:ext uri="{FF2B5EF4-FFF2-40B4-BE49-F238E27FC236}">
                    <a16:creationId xmlns:a16="http://schemas.microsoft.com/office/drawing/2014/main" id="{D511547B-352F-E526-ABF5-BC4148AB97D1}"/>
                  </a:ext>
                </a:extLst>
              </p:cNvPr>
              <p:cNvSpPr/>
              <p:nvPr/>
            </p:nvSpPr>
            <p:spPr bwMode="auto">
              <a:xfrm>
                <a:off x="6978650" y="4233863"/>
                <a:ext cx="6350" cy="11113"/>
              </a:xfrm>
              <a:custGeom>
                <a:avLst/>
                <a:gdLst>
                  <a:gd name="T0" fmla="*/ 0 w 3"/>
                  <a:gd name="T1" fmla="*/ 6 h 6"/>
                  <a:gd name="T2" fmla="*/ 3 w 3"/>
                  <a:gd name="T3" fmla="*/ 0 h 6"/>
                  <a:gd name="T4" fmla="*/ 0 w 3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6">
                    <a:moveTo>
                      <a:pt x="0" y="6"/>
                    </a:moveTo>
                    <a:cubicBezTo>
                      <a:pt x="1" y="4"/>
                      <a:pt x="2" y="2"/>
                      <a:pt x="3" y="0"/>
                    </a:cubicBezTo>
                    <a:cubicBezTo>
                      <a:pt x="2" y="2"/>
                      <a:pt x="1" y="4"/>
                      <a:pt x="0" y="6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6" name="任意多边形: 形状 175">
                <a:extLst>
                  <a:ext uri="{FF2B5EF4-FFF2-40B4-BE49-F238E27FC236}">
                    <a16:creationId xmlns:a16="http://schemas.microsoft.com/office/drawing/2014/main" id="{5B04C34B-902D-6633-BDFA-1EB3E76DC1E0}"/>
                  </a:ext>
                </a:extLst>
              </p:cNvPr>
              <p:cNvSpPr/>
              <p:nvPr/>
            </p:nvSpPr>
            <p:spPr bwMode="auto">
              <a:xfrm>
                <a:off x="6927850" y="4313238"/>
                <a:ext cx="6350" cy="9525"/>
              </a:xfrm>
              <a:custGeom>
                <a:avLst/>
                <a:gdLst>
                  <a:gd name="T0" fmla="*/ 0 w 4"/>
                  <a:gd name="T1" fmla="*/ 5 h 5"/>
                  <a:gd name="T2" fmla="*/ 4 w 4"/>
                  <a:gd name="T3" fmla="*/ 0 h 5"/>
                  <a:gd name="T4" fmla="*/ 0 w 4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5">
                    <a:moveTo>
                      <a:pt x="0" y="5"/>
                    </a:moveTo>
                    <a:cubicBezTo>
                      <a:pt x="1" y="4"/>
                      <a:pt x="3" y="2"/>
                      <a:pt x="4" y="0"/>
                    </a:cubicBezTo>
                    <a:cubicBezTo>
                      <a:pt x="3" y="2"/>
                      <a:pt x="1" y="4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7" name="任意多边形: 形状 176">
                <a:extLst>
                  <a:ext uri="{FF2B5EF4-FFF2-40B4-BE49-F238E27FC236}">
                    <a16:creationId xmlns:a16="http://schemas.microsoft.com/office/drawing/2014/main" id="{8AA33029-DAF2-D932-03E8-64CDBFB4158E}"/>
                  </a:ext>
                </a:extLst>
              </p:cNvPr>
              <p:cNvSpPr/>
              <p:nvPr/>
            </p:nvSpPr>
            <p:spPr bwMode="auto">
              <a:xfrm>
                <a:off x="6915150" y="4332288"/>
                <a:ext cx="4763" cy="11113"/>
              </a:xfrm>
              <a:custGeom>
                <a:avLst/>
                <a:gdLst>
                  <a:gd name="T0" fmla="*/ 0 w 3"/>
                  <a:gd name="T1" fmla="*/ 6 h 6"/>
                  <a:gd name="T2" fmla="*/ 3 w 3"/>
                  <a:gd name="T3" fmla="*/ 0 h 6"/>
                  <a:gd name="T4" fmla="*/ 0 w 3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6">
                    <a:moveTo>
                      <a:pt x="0" y="6"/>
                    </a:moveTo>
                    <a:cubicBezTo>
                      <a:pt x="1" y="4"/>
                      <a:pt x="2" y="2"/>
                      <a:pt x="3" y="0"/>
                    </a:cubicBezTo>
                    <a:cubicBezTo>
                      <a:pt x="2" y="2"/>
                      <a:pt x="1" y="4"/>
                      <a:pt x="0" y="6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8" name="任意多边形: 形状 177">
                <a:extLst>
                  <a:ext uri="{FF2B5EF4-FFF2-40B4-BE49-F238E27FC236}">
                    <a16:creationId xmlns:a16="http://schemas.microsoft.com/office/drawing/2014/main" id="{610DA256-F5D7-C439-8D48-A660E74056D8}"/>
                  </a:ext>
                </a:extLst>
              </p:cNvPr>
              <p:cNvSpPr/>
              <p:nvPr/>
            </p:nvSpPr>
            <p:spPr bwMode="auto">
              <a:xfrm>
                <a:off x="7054850" y="4073525"/>
                <a:ext cx="4763" cy="11113"/>
              </a:xfrm>
              <a:custGeom>
                <a:avLst/>
                <a:gdLst>
                  <a:gd name="T0" fmla="*/ 0 w 2"/>
                  <a:gd name="T1" fmla="*/ 6 h 6"/>
                  <a:gd name="T2" fmla="*/ 2 w 2"/>
                  <a:gd name="T3" fmla="*/ 0 h 6"/>
                  <a:gd name="T4" fmla="*/ 0 w 2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cubicBezTo>
                      <a:pt x="0" y="4"/>
                      <a:pt x="1" y="2"/>
                      <a:pt x="2" y="0"/>
                    </a:cubicBezTo>
                    <a:cubicBezTo>
                      <a:pt x="1" y="2"/>
                      <a:pt x="0" y="4"/>
                      <a:pt x="0" y="6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79" name="任意多边形: 形状 178">
                <a:extLst>
                  <a:ext uri="{FF2B5EF4-FFF2-40B4-BE49-F238E27FC236}">
                    <a16:creationId xmlns:a16="http://schemas.microsoft.com/office/drawing/2014/main" id="{FF1E75C4-C7DD-09AB-8317-38B131E8F3BD}"/>
                  </a:ext>
                </a:extLst>
              </p:cNvPr>
              <p:cNvSpPr/>
              <p:nvPr/>
            </p:nvSpPr>
            <p:spPr bwMode="auto">
              <a:xfrm>
                <a:off x="7027863" y="4141788"/>
                <a:ext cx="3175" cy="7938"/>
              </a:xfrm>
              <a:custGeom>
                <a:avLst/>
                <a:gdLst>
                  <a:gd name="T0" fmla="*/ 0 w 2"/>
                  <a:gd name="T1" fmla="*/ 5 h 5"/>
                  <a:gd name="T2" fmla="*/ 2 w 2"/>
                  <a:gd name="T3" fmla="*/ 0 h 5"/>
                  <a:gd name="T4" fmla="*/ 0 w 2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cubicBezTo>
                      <a:pt x="1" y="4"/>
                      <a:pt x="2" y="2"/>
                      <a:pt x="2" y="0"/>
                    </a:cubicBezTo>
                    <a:cubicBezTo>
                      <a:pt x="2" y="2"/>
                      <a:pt x="1" y="4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0" name="任意多边形: 形状 179">
                <a:extLst>
                  <a:ext uri="{FF2B5EF4-FFF2-40B4-BE49-F238E27FC236}">
                    <a16:creationId xmlns:a16="http://schemas.microsoft.com/office/drawing/2014/main" id="{F8F354DF-6455-BBAF-2BF5-84F68317BE62}"/>
                  </a:ext>
                </a:extLst>
              </p:cNvPr>
              <p:cNvSpPr/>
              <p:nvPr/>
            </p:nvSpPr>
            <p:spPr bwMode="auto">
              <a:xfrm>
                <a:off x="7037388" y="4119563"/>
                <a:ext cx="3175" cy="11113"/>
              </a:xfrm>
              <a:custGeom>
                <a:avLst/>
                <a:gdLst>
                  <a:gd name="T0" fmla="*/ 0 w 2"/>
                  <a:gd name="T1" fmla="*/ 6 h 6"/>
                  <a:gd name="T2" fmla="*/ 2 w 2"/>
                  <a:gd name="T3" fmla="*/ 0 h 6"/>
                  <a:gd name="T4" fmla="*/ 0 w 2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cubicBezTo>
                      <a:pt x="1" y="4"/>
                      <a:pt x="2" y="2"/>
                      <a:pt x="2" y="0"/>
                    </a:cubicBezTo>
                    <a:cubicBezTo>
                      <a:pt x="2" y="2"/>
                      <a:pt x="1" y="4"/>
                      <a:pt x="0" y="6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1" name="任意多边形: 形状 180">
                <a:extLst>
                  <a:ext uri="{FF2B5EF4-FFF2-40B4-BE49-F238E27FC236}">
                    <a16:creationId xmlns:a16="http://schemas.microsoft.com/office/drawing/2014/main" id="{267F888B-0CE4-5BE3-322B-8C94361BC59E}"/>
                  </a:ext>
                </a:extLst>
              </p:cNvPr>
              <p:cNvSpPr/>
              <p:nvPr/>
            </p:nvSpPr>
            <p:spPr bwMode="auto">
              <a:xfrm>
                <a:off x="6991350" y="4213225"/>
                <a:ext cx="4763" cy="9525"/>
              </a:xfrm>
              <a:custGeom>
                <a:avLst/>
                <a:gdLst>
                  <a:gd name="T0" fmla="*/ 0 w 3"/>
                  <a:gd name="T1" fmla="*/ 5 h 5"/>
                  <a:gd name="T2" fmla="*/ 3 w 3"/>
                  <a:gd name="T3" fmla="*/ 0 h 5"/>
                  <a:gd name="T4" fmla="*/ 0 w 3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5">
                    <a:moveTo>
                      <a:pt x="0" y="5"/>
                    </a:moveTo>
                    <a:cubicBezTo>
                      <a:pt x="1" y="4"/>
                      <a:pt x="2" y="2"/>
                      <a:pt x="3" y="0"/>
                    </a:cubicBezTo>
                    <a:cubicBezTo>
                      <a:pt x="2" y="2"/>
                      <a:pt x="1" y="4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2" name="任意多边形: 形状 181">
                <a:extLst>
                  <a:ext uri="{FF2B5EF4-FFF2-40B4-BE49-F238E27FC236}">
                    <a16:creationId xmlns:a16="http://schemas.microsoft.com/office/drawing/2014/main" id="{DD1C4A9E-8B66-BBFE-CCE3-A660A538E928}"/>
                  </a:ext>
                </a:extLst>
              </p:cNvPr>
              <p:cNvSpPr/>
              <p:nvPr/>
            </p:nvSpPr>
            <p:spPr bwMode="auto">
              <a:xfrm>
                <a:off x="6899275" y="4352925"/>
                <a:ext cx="7938" cy="9525"/>
              </a:xfrm>
              <a:custGeom>
                <a:avLst/>
                <a:gdLst>
                  <a:gd name="T0" fmla="*/ 0 w 4"/>
                  <a:gd name="T1" fmla="*/ 5 h 5"/>
                  <a:gd name="T2" fmla="*/ 4 w 4"/>
                  <a:gd name="T3" fmla="*/ 0 h 5"/>
                  <a:gd name="T4" fmla="*/ 0 w 4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5">
                    <a:moveTo>
                      <a:pt x="0" y="5"/>
                    </a:moveTo>
                    <a:cubicBezTo>
                      <a:pt x="1" y="3"/>
                      <a:pt x="3" y="1"/>
                      <a:pt x="4" y="0"/>
                    </a:cubicBezTo>
                    <a:cubicBezTo>
                      <a:pt x="3" y="1"/>
                      <a:pt x="1" y="3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3" name="任意多边形: 形状 182">
                <a:extLst>
                  <a:ext uri="{FF2B5EF4-FFF2-40B4-BE49-F238E27FC236}">
                    <a16:creationId xmlns:a16="http://schemas.microsoft.com/office/drawing/2014/main" id="{E66AC544-AA36-C47F-8C9C-3AFBE5BE0030}"/>
                  </a:ext>
                </a:extLst>
              </p:cNvPr>
              <p:cNvSpPr/>
              <p:nvPr/>
            </p:nvSpPr>
            <p:spPr bwMode="auto">
              <a:xfrm>
                <a:off x="7018338" y="4164013"/>
                <a:ext cx="3175" cy="7938"/>
              </a:xfrm>
              <a:custGeom>
                <a:avLst/>
                <a:gdLst>
                  <a:gd name="T0" fmla="*/ 0 w 2"/>
                  <a:gd name="T1" fmla="*/ 5 h 5"/>
                  <a:gd name="T2" fmla="*/ 2 w 2"/>
                  <a:gd name="T3" fmla="*/ 0 h 5"/>
                  <a:gd name="T4" fmla="*/ 0 w 2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cubicBezTo>
                      <a:pt x="0" y="3"/>
                      <a:pt x="1" y="2"/>
                      <a:pt x="2" y="0"/>
                    </a:cubicBezTo>
                    <a:cubicBezTo>
                      <a:pt x="1" y="2"/>
                      <a:pt x="0" y="3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4" name="任意多边形: 形状 183">
                <a:extLst>
                  <a:ext uri="{FF2B5EF4-FFF2-40B4-BE49-F238E27FC236}">
                    <a16:creationId xmlns:a16="http://schemas.microsoft.com/office/drawing/2014/main" id="{26DB64F8-34A6-B5FE-58B1-93E2C9D597DF}"/>
                  </a:ext>
                </a:extLst>
              </p:cNvPr>
              <p:cNvSpPr/>
              <p:nvPr/>
            </p:nvSpPr>
            <p:spPr bwMode="auto">
              <a:xfrm>
                <a:off x="7004050" y="4189413"/>
                <a:ext cx="4763" cy="9525"/>
              </a:xfrm>
              <a:custGeom>
                <a:avLst/>
                <a:gdLst>
                  <a:gd name="T0" fmla="*/ 0 w 3"/>
                  <a:gd name="T1" fmla="*/ 5 h 5"/>
                  <a:gd name="T2" fmla="*/ 3 w 3"/>
                  <a:gd name="T3" fmla="*/ 0 h 5"/>
                  <a:gd name="T4" fmla="*/ 0 w 3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5">
                    <a:moveTo>
                      <a:pt x="0" y="5"/>
                    </a:moveTo>
                    <a:cubicBezTo>
                      <a:pt x="1" y="4"/>
                      <a:pt x="2" y="2"/>
                      <a:pt x="3" y="0"/>
                    </a:cubicBezTo>
                    <a:cubicBezTo>
                      <a:pt x="2" y="2"/>
                      <a:pt x="1" y="4"/>
                      <a:pt x="0" y="5"/>
                    </a:cubicBezTo>
                    <a:close/>
                  </a:path>
                </a:pathLst>
              </a:custGeom>
              <a:solidFill>
                <a:srgbClr val="BABA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5" name="任意多边形: 形状 184">
                <a:extLst>
                  <a:ext uri="{FF2B5EF4-FFF2-40B4-BE49-F238E27FC236}">
                    <a16:creationId xmlns:a16="http://schemas.microsoft.com/office/drawing/2014/main" id="{B0720EC1-C46D-784F-5F9A-582AF23D3EA4}"/>
                  </a:ext>
                </a:extLst>
              </p:cNvPr>
              <p:cNvSpPr/>
              <p:nvPr/>
            </p:nvSpPr>
            <p:spPr bwMode="auto">
              <a:xfrm>
                <a:off x="3835400" y="1454150"/>
                <a:ext cx="2260600" cy="3340100"/>
              </a:xfrm>
              <a:custGeom>
                <a:avLst/>
                <a:gdLst>
                  <a:gd name="T0" fmla="*/ 666 w 1218"/>
                  <a:gd name="T1" fmla="*/ 1225 h 1800"/>
                  <a:gd name="T2" fmla="*/ 671 w 1218"/>
                  <a:gd name="T3" fmla="*/ 1152 h 1800"/>
                  <a:gd name="T4" fmla="*/ 671 w 1218"/>
                  <a:gd name="T5" fmla="*/ 1152 h 1800"/>
                  <a:gd name="T6" fmla="*/ 635 w 1218"/>
                  <a:gd name="T7" fmla="*/ 900 h 1800"/>
                  <a:gd name="T8" fmla="*/ 1218 w 1218"/>
                  <a:gd name="T9" fmla="*/ 57 h 1800"/>
                  <a:gd name="T10" fmla="*/ 900 w 1218"/>
                  <a:gd name="T11" fmla="*/ 0 h 1800"/>
                  <a:gd name="T12" fmla="*/ 0 w 1218"/>
                  <a:gd name="T13" fmla="*/ 900 h 1800"/>
                  <a:gd name="T14" fmla="*/ 900 w 1218"/>
                  <a:gd name="T15" fmla="*/ 1800 h 1800"/>
                  <a:gd name="T16" fmla="*/ 1132 w 1218"/>
                  <a:gd name="T17" fmla="*/ 1770 h 1800"/>
                  <a:gd name="T18" fmla="*/ 666 w 1218"/>
                  <a:gd name="T19" fmla="*/ 1225 h 1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18" h="1800">
                    <a:moveTo>
                      <a:pt x="666" y="1225"/>
                    </a:moveTo>
                    <a:cubicBezTo>
                      <a:pt x="666" y="1200"/>
                      <a:pt x="667" y="1176"/>
                      <a:pt x="671" y="1152"/>
                    </a:cubicBezTo>
                    <a:cubicBezTo>
                      <a:pt x="671" y="1152"/>
                      <a:pt x="671" y="1152"/>
                      <a:pt x="671" y="1152"/>
                    </a:cubicBezTo>
                    <a:cubicBezTo>
                      <a:pt x="647" y="1072"/>
                      <a:pt x="635" y="988"/>
                      <a:pt x="635" y="900"/>
                    </a:cubicBezTo>
                    <a:cubicBezTo>
                      <a:pt x="635" y="515"/>
                      <a:pt x="877" y="186"/>
                      <a:pt x="1218" y="57"/>
                    </a:cubicBezTo>
                    <a:cubicBezTo>
                      <a:pt x="1119" y="20"/>
                      <a:pt x="1012" y="0"/>
                      <a:pt x="900" y="0"/>
                    </a:cubicBezTo>
                    <a:cubicBezTo>
                      <a:pt x="403" y="0"/>
                      <a:pt x="0" y="403"/>
                      <a:pt x="0" y="900"/>
                    </a:cubicBezTo>
                    <a:cubicBezTo>
                      <a:pt x="0" y="1397"/>
                      <a:pt x="403" y="1800"/>
                      <a:pt x="900" y="1800"/>
                    </a:cubicBezTo>
                    <a:cubicBezTo>
                      <a:pt x="980" y="1800"/>
                      <a:pt x="1058" y="1790"/>
                      <a:pt x="1132" y="1770"/>
                    </a:cubicBezTo>
                    <a:cubicBezTo>
                      <a:pt x="868" y="1729"/>
                      <a:pt x="666" y="1501"/>
                      <a:pt x="666" y="1225"/>
                    </a:cubicBezTo>
                    <a:close/>
                  </a:path>
                </a:pathLst>
              </a:custGeom>
              <a:solidFill>
                <a:srgbClr val="1194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0" tIns="45720" rIns="684000" bIns="45720" numCol="1" anchor="ctr" anchorCtr="1" compatLnSpc="1">
                <a:prstTxWarp prst="textNoShape">
                  <a:avLst/>
                </a:prstTxWarp>
              </a:bodyPr>
              <a:lstStyle/>
              <a:p>
                <a:r>
                  <a:rPr lang="en-US" altLang="zh-CN" sz="2400" b="1">
                    <a:solidFill>
                      <a:srgbClr val="FFFFFF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01</a:t>
                </a:r>
                <a:endParaRPr lang="zh-CN" altLang="en-US" sz="2400" b="1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268C78B9-561B-5152-9E8C-083B2005E673}"/>
                </a:ext>
              </a:extLst>
            </p:cNvPr>
            <p:cNvSpPr/>
            <p:nvPr/>
          </p:nvSpPr>
          <p:spPr>
            <a:xfrm>
              <a:off x="1020999" y="2783180"/>
              <a:ext cx="3415250" cy="7285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sz="1800" dirty="0">
                  <a:solidFill>
                    <a:srgbClr val="4F81BD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原厂授权，品质保证及价格优势</a:t>
              </a:r>
              <a:endParaRPr lang="en-US" altLang="zh-CN" sz="1800" dirty="0">
                <a:solidFill>
                  <a:srgbClr val="4F81BD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20000"/>
                </a:lnSpc>
              </a:pPr>
              <a:r>
                <a:rPr lang="zh-CN" altLang="en-US" sz="1800" dirty="0">
                  <a:solidFill>
                    <a:srgbClr val="4F81BD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产品线全，满足一站式采购需求</a:t>
              </a:r>
              <a:endParaRPr lang="zh-CN" altLang="en-US" sz="1800" dirty="0">
                <a:solidFill>
                  <a:srgbClr val="4F81BD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4" name="矩形: 圆角 13">
              <a:extLst>
                <a:ext uri="{FF2B5EF4-FFF2-40B4-BE49-F238E27FC236}">
                  <a16:creationId xmlns:a16="http://schemas.microsoft.com/office/drawing/2014/main" id="{1DDBE657-F7A3-137E-8A8B-12558CF6F9B8}"/>
                </a:ext>
              </a:extLst>
            </p:cNvPr>
            <p:cNvSpPr/>
            <p:nvPr/>
          </p:nvSpPr>
          <p:spPr>
            <a:xfrm>
              <a:off x="3058109" y="2132856"/>
              <a:ext cx="1565107" cy="613321"/>
            </a:xfrm>
            <a:prstGeom prst="roundRect">
              <a:avLst/>
            </a:prstGeom>
            <a:solidFill>
              <a:srgbClr val="1194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产品优势</a:t>
              </a:r>
            </a:p>
          </p:txBody>
        </p:sp>
        <p:sp>
          <p:nvSpPr>
            <p:cNvPr id="186" name="矩形: 圆角 185">
              <a:extLst>
                <a:ext uri="{FF2B5EF4-FFF2-40B4-BE49-F238E27FC236}">
                  <a16:creationId xmlns:a16="http://schemas.microsoft.com/office/drawing/2014/main" id="{DADAC4B0-442F-E781-EA22-10E58B1D5A25}"/>
                </a:ext>
              </a:extLst>
            </p:cNvPr>
            <p:cNvSpPr/>
            <p:nvPr/>
          </p:nvSpPr>
          <p:spPr>
            <a:xfrm>
              <a:off x="3068652" y="4309422"/>
              <a:ext cx="1544812" cy="613321"/>
            </a:xfrm>
            <a:prstGeom prst="round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服务优势</a:t>
              </a:r>
            </a:p>
          </p:txBody>
        </p:sp>
        <p:sp>
          <p:nvSpPr>
            <p:cNvPr id="187" name="矩形 186">
              <a:extLst>
                <a:ext uri="{FF2B5EF4-FFF2-40B4-BE49-F238E27FC236}">
                  <a16:creationId xmlns:a16="http://schemas.microsoft.com/office/drawing/2014/main" id="{7E7D2F57-4B22-95DD-FA3D-331BC456CC7C}"/>
                </a:ext>
              </a:extLst>
            </p:cNvPr>
            <p:cNvSpPr/>
            <p:nvPr/>
          </p:nvSpPr>
          <p:spPr>
            <a:xfrm>
              <a:off x="2131675" y="4946934"/>
              <a:ext cx="2262158" cy="7285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dirty="0">
                  <a:solidFill>
                    <a:srgbClr val="4F81BD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响应快速，交付准时</a:t>
              </a:r>
              <a:endParaRPr lang="en-US" altLang="zh-CN" dirty="0">
                <a:solidFill>
                  <a:srgbClr val="4F81BD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20000"/>
                </a:lnSpc>
              </a:pPr>
              <a:r>
                <a:rPr lang="zh-CN" altLang="en-US" dirty="0">
                  <a:solidFill>
                    <a:srgbClr val="4F81BD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管理规范，服务专业</a:t>
              </a:r>
            </a:p>
          </p:txBody>
        </p:sp>
        <p:sp>
          <p:nvSpPr>
            <p:cNvPr id="188" name="矩形: 圆角 187">
              <a:extLst>
                <a:ext uri="{FF2B5EF4-FFF2-40B4-BE49-F238E27FC236}">
                  <a16:creationId xmlns:a16="http://schemas.microsoft.com/office/drawing/2014/main" id="{30D5D02E-39F9-85F8-044A-E9AD4A500B9A}"/>
                </a:ext>
              </a:extLst>
            </p:cNvPr>
            <p:cNvSpPr/>
            <p:nvPr/>
          </p:nvSpPr>
          <p:spPr>
            <a:xfrm>
              <a:off x="8253175" y="2146376"/>
              <a:ext cx="1562213" cy="613321"/>
            </a:xfrm>
            <a:prstGeom prst="round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技术优势</a:t>
              </a:r>
            </a:p>
          </p:txBody>
        </p:sp>
        <p:sp>
          <p:nvSpPr>
            <p:cNvPr id="190" name="矩形: 圆角 189">
              <a:extLst>
                <a:ext uri="{FF2B5EF4-FFF2-40B4-BE49-F238E27FC236}">
                  <a16:creationId xmlns:a16="http://schemas.microsoft.com/office/drawing/2014/main" id="{EE7932FC-5799-427C-402B-76DB808698BD}"/>
                </a:ext>
              </a:extLst>
            </p:cNvPr>
            <p:cNvSpPr/>
            <p:nvPr/>
          </p:nvSpPr>
          <p:spPr>
            <a:xfrm>
              <a:off x="8278743" y="4315273"/>
              <a:ext cx="1562213" cy="613321"/>
            </a:xfrm>
            <a:prstGeom prst="roundRect">
              <a:avLst/>
            </a:prstGeom>
            <a:solidFill>
              <a:srgbClr val="1194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团队优势</a:t>
              </a:r>
            </a:p>
          </p:txBody>
        </p:sp>
        <p:sp>
          <p:nvSpPr>
            <p:cNvPr id="191" name="矩形 190">
              <a:extLst>
                <a:ext uri="{FF2B5EF4-FFF2-40B4-BE49-F238E27FC236}">
                  <a16:creationId xmlns:a16="http://schemas.microsoft.com/office/drawing/2014/main" id="{B63FF037-E716-319A-F353-46FBBB161A2A}"/>
                </a:ext>
              </a:extLst>
            </p:cNvPr>
            <p:cNvSpPr/>
            <p:nvPr/>
          </p:nvSpPr>
          <p:spPr>
            <a:xfrm>
              <a:off x="8456828" y="2777662"/>
              <a:ext cx="3783408" cy="72898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zh-CN" altLang="en-US" dirty="0">
                  <a:solidFill>
                    <a:srgbClr val="4F81BD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各产品线有从事行业</a:t>
              </a:r>
              <a:r>
                <a:rPr lang="en-US" altLang="zh-CN" dirty="0">
                  <a:solidFill>
                    <a:srgbClr val="4F81BD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10</a:t>
              </a:r>
              <a:r>
                <a:rPr lang="zh-CN" altLang="en-US" dirty="0">
                  <a:solidFill>
                    <a:srgbClr val="4F81BD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年以上的专</a:t>
              </a:r>
              <a:endParaRPr lang="en-US" altLang="zh-CN" dirty="0">
                <a:solidFill>
                  <a:srgbClr val="4F81BD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  <a:p>
              <a:pPr>
                <a:lnSpc>
                  <a:spcPct val="120000"/>
                </a:lnSpc>
              </a:pPr>
              <a:r>
                <a:rPr lang="zh-CN" altLang="en-US" dirty="0">
                  <a:solidFill>
                    <a:srgbClr val="4F81BD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业</a:t>
              </a:r>
              <a:r>
                <a:rPr lang="en-US" altLang="zh-CN" dirty="0">
                  <a:solidFill>
                    <a:srgbClr val="4F81BD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PM</a:t>
              </a:r>
              <a:r>
                <a:rPr lang="zh-CN" altLang="en-US" dirty="0">
                  <a:solidFill>
                    <a:srgbClr val="4F81BD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提供售前、售中、售后等支持</a:t>
              </a:r>
              <a:endParaRPr lang="zh-CN" altLang="en-US" dirty="0">
                <a:solidFill>
                  <a:srgbClr val="4F81BD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92" name="文本框 51">
              <a:extLst>
                <a:ext uri="{FF2B5EF4-FFF2-40B4-BE49-F238E27FC236}">
                  <a16:creationId xmlns:a16="http://schemas.microsoft.com/office/drawing/2014/main" id="{1F8BF15B-17F9-FE7C-1B2B-F0C00A88FC24}"/>
                </a:ext>
              </a:extLst>
            </p:cNvPr>
            <p:cNvSpPr txBox="1"/>
            <p:nvPr/>
          </p:nvSpPr>
          <p:spPr>
            <a:xfrm>
              <a:off x="8457328" y="4954440"/>
              <a:ext cx="3954929" cy="72898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rtlCol="0" anchor="b" anchorCtr="0">
              <a:spAutoFit/>
            </a:bodyPr>
            <a:lstStyle>
              <a:defPPr>
                <a:defRPr lang="zh-CN"/>
              </a:defPPr>
              <a:lvl1pPr>
                <a:lnSpc>
                  <a:spcPct val="120000"/>
                </a:lnSpc>
                <a:defRPr>
                  <a:solidFill>
                    <a:srgbClr val="4F81B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zh-CN" altLang="en-US" dirty="0">
                  <a:latin typeface="Arial" panose="020B0604020202020204" pitchFamily="34" charset="0"/>
                </a:rPr>
                <a:t>总经理行业经验</a:t>
              </a:r>
              <a:r>
                <a:rPr lang="en-US" altLang="zh-CN" dirty="0">
                  <a:latin typeface="Arial" panose="020B0604020202020204" pitchFamily="34" charset="0"/>
                </a:rPr>
                <a:t>26</a:t>
              </a:r>
              <a:r>
                <a:rPr lang="zh-CN" altLang="en-US" dirty="0">
                  <a:latin typeface="Arial" panose="020B0604020202020204" pitchFamily="34" charset="0"/>
                </a:rPr>
                <a:t>年、原厂经验</a:t>
              </a:r>
              <a:r>
                <a:rPr lang="en-US" altLang="zh-CN" dirty="0">
                  <a:latin typeface="Arial" panose="020B0604020202020204" pitchFamily="34" charset="0"/>
                </a:rPr>
                <a:t>20</a:t>
              </a:r>
              <a:r>
                <a:rPr lang="zh-CN" altLang="en-US" dirty="0">
                  <a:latin typeface="Arial" panose="020B0604020202020204" pitchFamily="34" charset="0"/>
                </a:rPr>
                <a:t>年</a:t>
              </a:r>
              <a:endParaRPr lang="en-US" altLang="zh-CN" dirty="0">
                <a:latin typeface="Arial" panose="020B0604020202020204" pitchFamily="34" charset="0"/>
              </a:endParaRPr>
            </a:p>
            <a:p>
              <a:r>
                <a:rPr lang="zh-CN" altLang="en-US" dirty="0">
                  <a:latin typeface="Arial" panose="020B0604020202020204" pitchFamily="34" charset="0"/>
                </a:rPr>
                <a:t>核心骨干从业</a:t>
              </a:r>
              <a:r>
                <a:rPr lang="en-US" altLang="zh-CN" dirty="0">
                  <a:latin typeface="Arial" panose="020B0604020202020204" pitchFamily="34" charset="0"/>
                </a:rPr>
                <a:t>10</a:t>
              </a:r>
              <a:r>
                <a:rPr lang="zh-CN" altLang="en-US" dirty="0">
                  <a:latin typeface="Arial" panose="020B0604020202020204" pitchFamily="34" charset="0"/>
                </a:rPr>
                <a:t>年以上工作经验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23508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2"/>
          <p:cNvGrpSpPr/>
          <p:nvPr/>
        </p:nvGrpSpPr>
        <p:grpSpPr>
          <a:xfrm>
            <a:off x="710036" y="4501030"/>
            <a:ext cx="2232248" cy="1395727"/>
            <a:chOff x="1367367" y="1923540"/>
            <a:chExt cx="2091076" cy="2091076"/>
          </a:xfrm>
        </p:grpSpPr>
        <p:pic>
          <p:nvPicPr>
            <p:cNvPr id="24" name="图片 23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576867" y="2030192"/>
              <a:ext cx="1795016" cy="1831548"/>
            </a:xfrm>
            <a:custGeom>
              <a:avLst/>
              <a:gdLst>
                <a:gd name="connsiteX0" fmla="*/ 0 w 2579915"/>
                <a:gd name="connsiteY0" fmla="*/ 0 h 2296885"/>
                <a:gd name="connsiteX1" fmla="*/ 2579915 w 2579915"/>
                <a:gd name="connsiteY1" fmla="*/ 0 h 2296885"/>
                <a:gd name="connsiteX2" fmla="*/ 2579915 w 2579915"/>
                <a:gd name="connsiteY2" fmla="*/ 2296885 h 2296885"/>
                <a:gd name="connsiteX3" fmla="*/ 0 w 2579915"/>
                <a:gd name="connsiteY3" fmla="*/ 2296885 h 2296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9915" h="2296885">
                  <a:moveTo>
                    <a:pt x="0" y="0"/>
                  </a:moveTo>
                  <a:lnTo>
                    <a:pt x="2579915" y="0"/>
                  </a:lnTo>
                  <a:lnTo>
                    <a:pt x="2579915" y="2296885"/>
                  </a:lnTo>
                  <a:lnTo>
                    <a:pt x="0" y="2296885"/>
                  </a:lnTo>
                  <a:close/>
                </a:path>
              </a:pathLst>
            </a:custGeom>
          </p:spPr>
        </p:pic>
        <p:grpSp>
          <p:nvGrpSpPr>
            <p:cNvPr id="4" name="组合 24"/>
            <p:cNvGrpSpPr/>
            <p:nvPr/>
          </p:nvGrpSpPr>
          <p:grpSpPr>
            <a:xfrm>
              <a:off x="1367367" y="1923540"/>
              <a:ext cx="2091076" cy="2091076"/>
              <a:chOff x="4742449" y="2216782"/>
              <a:chExt cx="3801476" cy="3801476"/>
            </a:xfrm>
          </p:grpSpPr>
          <p:sp>
            <p:nvSpPr>
              <p:cNvPr id="26" name="任意多边形 11"/>
              <p:cNvSpPr/>
              <p:nvPr/>
            </p:nvSpPr>
            <p:spPr>
              <a:xfrm>
                <a:off x="4742449" y="2216782"/>
                <a:ext cx="3801476" cy="3801476"/>
              </a:xfrm>
              <a:custGeom>
                <a:avLst/>
                <a:gdLst>
                  <a:gd name="connsiteX0" fmla="*/ 627244 w 3801476"/>
                  <a:gd name="connsiteY0" fmla="*/ 310063 h 3801476"/>
                  <a:gd name="connsiteX1" fmla="*/ 310063 w 3801476"/>
                  <a:gd name="connsiteY1" fmla="*/ 627244 h 3801476"/>
                  <a:gd name="connsiteX2" fmla="*/ 310063 w 3801476"/>
                  <a:gd name="connsiteY2" fmla="*/ 3174232 h 3801476"/>
                  <a:gd name="connsiteX3" fmla="*/ 627244 w 3801476"/>
                  <a:gd name="connsiteY3" fmla="*/ 3491413 h 3801476"/>
                  <a:gd name="connsiteX4" fmla="*/ 3174232 w 3801476"/>
                  <a:gd name="connsiteY4" fmla="*/ 3491413 h 3801476"/>
                  <a:gd name="connsiteX5" fmla="*/ 3491413 w 3801476"/>
                  <a:gd name="connsiteY5" fmla="*/ 3174232 h 3801476"/>
                  <a:gd name="connsiteX6" fmla="*/ 3491413 w 3801476"/>
                  <a:gd name="connsiteY6" fmla="*/ 627244 h 3801476"/>
                  <a:gd name="connsiteX7" fmla="*/ 3174232 w 3801476"/>
                  <a:gd name="connsiteY7" fmla="*/ 310063 h 3801476"/>
                  <a:gd name="connsiteX8" fmla="*/ 379007 w 3801476"/>
                  <a:gd name="connsiteY8" fmla="*/ 0 h 3801476"/>
                  <a:gd name="connsiteX9" fmla="*/ 3422469 w 3801476"/>
                  <a:gd name="connsiteY9" fmla="*/ 0 h 3801476"/>
                  <a:gd name="connsiteX10" fmla="*/ 3801476 w 3801476"/>
                  <a:gd name="connsiteY10" fmla="*/ 379007 h 3801476"/>
                  <a:gd name="connsiteX11" fmla="*/ 3801476 w 3801476"/>
                  <a:gd name="connsiteY11" fmla="*/ 3422469 h 3801476"/>
                  <a:gd name="connsiteX12" fmla="*/ 3422469 w 3801476"/>
                  <a:gd name="connsiteY12" fmla="*/ 3801476 h 3801476"/>
                  <a:gd name="connsiteX13" fmla="*/ 379007 w 3801476"/>
                  <a:gd name="connsiteY13" fmla="*/ 3801476 h 3801476"/>
                  <a:gd name="connsiteX14" fmla="*/ 0 w 3801476"/>
                  <a:gd name="connsiteY14" fmla="*/ 3422469 h 3801476"/>
                  <a:gd name="connsiteX15" fmla="*/ 0 w 3801476"/>
                  <a:gd name="connsiteY15" fmla="*/ 379007 h 3801476"/>
                  <a:gd name="connsiteX16" fmla="*/ 379007 w 3801476"/>
                  <a:gd name="connsiteY16" fmla="*/ 0 h 3801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801476" h="3801476">
                    <a:moveTo>
                      <a:pt x="627244" y="310063"/>
                    </a:moveTo>
                    <a:cubicBezTo>
                      <a:pt x="452070" y="310063"/>
                      <a:pt x="310063" y="452070"/>
                      <a:pt x="310063" y="627244"/>
                    </a:cubicBezTo>
                    <a:lnTo>
                      <a:pt x="310063" y="3174232"/>
                    </a:lnTo>
                    <a:cubicBezTo>
                      <a:pt x="310063" y="3349406"/>
                      <a:pt x="452070" y="3491413"/>
                      <a:pt x="627244" y="3491413"/>
                    </a:cubicBezTo>
                    <a:lnTo>
                      <a:pt x="3174232" y="3491413"/>
                    </a:lnTo>
                    <a:cubicBezTo>
                      <a:pt x="3349406" y="3491413"/>
                      <a:pt x="3491413" y="3349406"/>
                      <a:pt x="3491413" y="3174232"/>
                    </a:cubicBezTo>
                    <a:lnTo>
                      <a:pt x="3491413" y="627244"/>
                    </a:lnTo>
                    <a:cubicBezTo>
                      <a:pt x="3491413" y="452070"/>
                      <a:pt x="3349406" y="310063"/>
                      <a:pt x="3174232" y="310063"/>
                    </a:cubicBezTo>
                    <a:close/>
                    <a:moveTo>
                      <a:pt x="379007" y="0"/>
                    </a:moveTo>
                    <a:lnTo>
                      <a:pt x="3422469" y="0"/>
                    </a:lnTo>
                    <a:cubicBezTo>
                      <a:pt x="3631789" y="0"/>
                      <a:pt x="3801476" y="169687"/>
                      <a:pt x="3801476" y="379007"/>
                    </a:cubicBezTo>
                    <a:lnTo>
                      <a:pt x="3801476" y="3422469"/>
                    </a:lnTo>
                    <a:cubicBezTo>
                      <a:pt x="3801476" y="3631789"/>
                      <a:pt x="3631789" y="3801476"/>
                      <a:pt x="3422469" y="3801476"/>
                    </a:cubicBezTo>
                    <a:lnTo>
                      <a:pt x="379007" y="3801476"/>
                    </a:lnTo>
                    <a:cubicBezTo>
                      <a:pt x="169687" y="3801476"/>
                      <a:pt x="0" y="3631789"/>
                      <a:pt x="0" y="3422469"/>
                    </a:cubicBezTo>
                    <a:lnTo>
                      <a:pt x="0" y="379007"/>
                    </a:lnTo>
                    <a:cubicBezTo>
                      <a:pt x="0" y="169687"/>
                      <a:pt x="169687" y="0"/>
                      <a:pt x="379007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  <a:ln w="25400">
                <a:noFill/>
              </a:ln>
              <a:effectLst>
                <a:outerShdw blurRad="177800" dist="88900" dir="2700000" algn="tl" rotWithShape="0">
                  <a:prstClr val="black">
                    <a:alpha val="5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圆角矩形 12"/>
              <p:cNvSpPr/>
              <p:nvPr/>
            </p:nvSpPr>
            <p:spPr>
              <a:xfrm>
                <a:off x="5052512" y="2526845"/>
                <a:ext cx="3181350" cy="3181350"/>
              </a:xfrm>
              <a:prstGeom prst="roundRect">
                <a:avLst>
                  <a:gd name="adj" fmla="val 9970"/>
                </a:avLst>
              </a:prstGeom>
              <a:noFill/>
              <a:ln w="76200">
                <a:gradFill flip="none" rotWithShape="1">
                  <a:gsLst>
                    <a:gs pos="100000">
                      <a:schemeClr val="bg1">
                        <a:lumMod val="96000"/>
                      </a:schemeClr>
                    </a:gs>
                    <a:gs pos="0">
                      <a:schemeClr val="bg1">
                        <a:lumMod val="65000"/>
                      </a:schemeClr>
                    </a:gs>
                  </a:gsLst>
                  <a:lin ang="2700000" scaled="1"/>
                  <a:tileRect/>
                </a:gra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prstClr val="white"/>
                  </a:solidFill>
                </a:endParaRPr>
              </a:p>
            </p:txBody>
          </p:sp>
          <p:sp>
            <p:nvSpPr>
              <p:cNvPr id="28" name="圆角矩形 14"/>
              <p:cNvSpPr/>
              <p:nvPr/>
            </p:nvSpPr>
            <p:spPr>
              <a:xfrm>
                <a:off x="4742449" y="2216782"/>
                <a:ext cx="3801476" cy="3801476"/>
              </a:xfrm>
              <a:prstGeom prst="roundRect">
                <a:avLst>
                  <a:gd name="adj" fmla="val 9970"/>
                </a:avLst>
              </a:prstGeom>
              <a:noFill/>
              <a:ln w="22225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65000"/>
                      </a:schemeClr>
                    </a:gs>
                  </a:gsLst>
                  <a:lin ang="2700000" scaled="1"/>
                  <a:tileRect/>
                </a:gra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7" name="组合 54"/>
          <p:cNvGrpSpPr/>
          <p:nvPr/>
        </p:nvGrpSpPr>
        <p:grpSpPr>
          <a:xfrm>
            <a:off x="8982749" y="4508362"/>
            <a:ext cx="2242756" cy="1397714"/>
            <a:chOff x="6258959" y="1923540"/>
            <a:chExt cx="2091076" cy="2091076"/>
          </a:xfrm>
        </p:grpSpPr>
        <p:pic>
          <p:nvPicPr>
            <p:cNvPr id="56" name="图片 55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86841" y="2094096"/>
              <a:ext cx="1989431" cy="1753919"/>
            </a:xfrm>
            <a:custGeom>
              <a:avLst/>
              <a:gdLst>
                <a:gd name="connsiteX0" fmla="*/ 0 w 2579915"/>
                <a:gd name="connsiteY0" fmla="*/ 0 h 2296885"/>
                <a:gd name="connsiteX1" fmla="*/ 2579915 w 2579915"/>
                <a:gd name="connsiteY1" fmla="*/ 0 h 2296885"/>
                <a:gd name="connsiteX2" fmla="*/ 2579915 w 2579915"/>
                <a:gd name="connsiteY2" fmla="*/ 2296885 h 2296885"/>
                <a:gd name="connsiteX3" fmla="*/ 0 w 2579915"/>
                <a:gd name="connsiteY3" fmla="*/ 2296885 h 2296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9915" h="2296885">
                  <a:moveTo>
                    <a:pt x="0" y="0"/>
                  </a:moveTo>
                  <a:lnTo>
                    <a:pt x="2579915" y="0"/>
                  </a:lnTo>
                  <a:lnTo>
                    <a:pt x="2579915" y="2296885"/>
                  </a:lnTo>
                  <a:lnTo>
                    <a:pt x="0" y="2296885"/>
                  </a:lnTo>
                  <a:close/>
                </a:path>
              </a:pathLst>
            </a:custGeom>
          </p:spPr>
        </p:pic>
        <p:grpSp>
          <p:nvGrpSpPr>
            <p:cNvPr id="8" name="组合 56"/>
            <p:cNvGrpSpPr/>
            <p:nvPr/>
          </p:nvGrpSpPr>
          <p:grpSpPr>
            <a:xfrm>
              <a:off x="6258959" y="1923540"/>
              <a:ext cx="2091076" cy="2091076"/>
              <a:chOff x="4742449" y="2216782"/>
              <a:chExt cx="3801476" cy="3801476"/>
            </a:xfrm>
          </p:grpSpPr>
          <p:sp>
            <p:nvSpPr>
              <p:cNvPr id="58" name="任意多边形 27"/>
              <p:cNvSpPr/>
              <p:nvPr/>
            </p:nvSpPr>
            <p:spPr>
              <a:xfrm>
                <a:off x="4742449" y="2216782"/>
                <a:ext cx="3801476" cy="3801476"/>
              </a:xfrm>
              <a:custGeom>
                <a:avLst/>
                <a:gdLst>
                  <a:gd name="connsiteX0" fmla="*/ 627244 w 3801476"/>
                  <a:gd name="connsiteY0" fmla="*/ 310063 h 3801476"/>
                  <a:gd name="connsiteX1" fmla="*/ 310063 w 3801476"/>
                  <a:gd name="connsiteY1" fmla="*/ 627244 h 3801476"/>
                  <a:gd name="connsiteX2" fmla="*/ 310063 w 3801476"/>
                  <a:gd name="connsiteY2" fmla="*/ 3174232 h 3801476"/>
                  <a:gd name="connsiteX3" fmla="*/ 627244 w 3801476"/>
                  <a:gd name="connsiteY3" fmla="*/ 3491413 h 3801476"/>
                  <a:gd name="connsiteX4" fmla="*/ 3174232 w 3801476"/>
                  <a:gd name="connsiteY4" fmla="*/ 3491413 h 3801476"/>
                  <a:gd name="connsiteX5" fmla="*/ 3491413 w 3801476"/>
                  <a:gd name="connsiteY5" fmla="*/ 3174232 h 3801476"/>
                  <a:gd name="connsiteX6" fmla="*/ 3491413 w 3801476"/>
                  <a:gd name="connsiteY6" fmla="*/ 627244 h 3801476"/>
                  <a:gd name="connsiteX7" fmla="*/ 3174232 w 3801476"/>
                  <a:gd name="connsiteY7" fmla="*/ 310063 h 3801476"/>
                  <a:gd name="connsiteX8" fmla="*/ 379007 w 3801476"/>
                  <a:gd name="connsiteY8" fmla="*/ 0 h 3801476"/>
                  <a:gd name="connsiteX9" fmla="*/ 3422469 w 3801476"/>
                  <a:gd name="connsiteY9" fmla="*/ 0 h 3801476"/>
                  <a:gd name="connsiteX10" fmla="*/ 3801476 w 3801476"/>
                  <a:gd name="connsiteY10" fmla="*/ 379007 h 3801476"/>
                  <a:gd name="connsiteX11" fmla="*/ 3801476 w 3801476"/>
                  <a:gd name="connsiteY11" fmla="*/ 3422469 h 3801476"/>
                  <a:gd name="connsiteX12" fmla="*/ 3422469 w 3801476"/>
                  <a:gd name="connsiteY12" fmla="*/ 3801476 h 3801476"/>
                  <a:gd name="connsiteX13" fmla="*/ 379007 w 3801476"/>
                  <a:gd name="connsiteY13" fmla="*/ 3801476 h 3801476"/>
                  <a:gd name="connsiteX14" fmla="*/ 0 w 3801476"/>
                  <a:gd name="connsiteY14" fmla="*/ 3422469 h 3801476"/>
                  <a:gd name="connsiteX15" fmla="*/ 0 w 3801476"/>
                  <a:gd name="connsiteY15" fmla="*/ 379007 h 3801476"/>
                  <a:gd name="connsiteX16" fmla="*/ 379007 w 3801476"/>
                  <a:gd name="connsiteY16" fmla="*/ 0 h 3801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801476" h="3801476">
                    <a:moveTo>
                      <a:pt x="627244" y="310063"/>
                    </a:moveTo>
                    <a:cubicBezTo>
                      <a:pt x="452070" y="310063"/>
                      <a:pt x="310063" y="452070"/>
                      <a:pt x="310063" y="627244"/>
                    </a:cubicBezTo>
                    <a:lnTo>
                      <a:pt x="310063" y="3174232"/>
                    </a:lnTo>
                    <a:cubicBezTo>
                      <a:pt x="310063" y="3349406"/>
                      <a:pt x="452070" y="3491413"/>
                      <a:pt x="627244" y="3491413"/>
                    </a:cubicBezTo>
                    <a:lnTo>
                      <a:pt x="3174232" y="3491413"/>
                    </a:lnTo>
                    <a:cubicBezTo>
                      <a:pt x="3349406" y="3491413"/>
                      <a:pt x="3491413" y="3349406"/>
                      <a:pt x="3491413" y="3174232"/>
                    </a:cubicBezTo>
                    <a:lnTo>
                      <a:pt x="3491413" y="627244"/>
                    </a:lnTo>
                    <a:cubicBezTo>
                      <a:pt x="3491413" y="452070"/>
                      <a:pt x="3349406" y="310063"/>
                      <a:pt x="3174232" y="310063"/>
                    </a:cubicBezTo>
                    <a:close/>
                    <a:moveTo>
                      <a:pt x="379007" y="0"/>
                    </a:moveTo>
                    <a:lnTo>
                      <a:pt x="3422469" y="0"/>
                    </a:lnTo>
                    <a:cubicBezTo>
                      <a:pt x="3631789" y="0"/>
                      <a:pt x="3801476" y="169687"/>
                      <a:pt x="3801476" y="379007"/>
                    </a:cubicBezTo>
                    <a:lnTo>
                      <a:pt x="3801476" y="3422469"/>
                    </a:lnTo>
                    <a:cubicBezTo>
                      <a:pt x="3801476" y="3631789"/>
                      <a:pt x="3631789" y="3801476"/>
                      <a:pt x="3422469" y="3801476"/>
                    </a:cubicBezTo>
                    <a:lnTo>
                      <a:pt x="379007" y="3801476"/>
                    </a:lnTo>
                    <a:cubicBezTo>
                      <a:pt x="169687" y="3801476"/>
                      <a:pt x="0" y="3631789"/>
                      <a:pt x="0" y="3422469"/>
                    </a:cubicBezTo>
                    <a:lnTo>
                      <a:pt x="0" y="379007"/>
                    </a:lnTo>
                    <a:cubicBezTo>
                      <a:pt x="0" y="169687"/>
                      <a:pt x="169687" y="0"/>
                      <a:pt x="379007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  <a:ln w="25400">
                <a:noFill/>
              </a:ln>
              <a:effectLst>
                <a:outerShdw blurRad="177800" dist="88900" dir="2700000" algn="tl" rotWithShape="0">
                  <a:prstClr val="black">
                    <a:alpha val="5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圆角矩形 28"/>
              <p:cNvSpPr/>
              <p:nvPr/>
            </p:nvSpPr>
            <p:spPr>
              <a:xfrm>
                <a:off x="5052512" y="2526845"/>
                <a:ext cx="3181350" cy="3181350"/>
              </a:xfrm>
              <a:prstGeom prst="roundRect">
                <a:avLst>
                  <a:gd name="adj" fmla="val 9970"/>
                </a:avLst>
              </a:prstGeom>
              <a:noFill/>
              <a:ln w="76200">
                <a:gradFill flip="none" rotWithShape="1">
                  <a:gsLst>
                    <a:gs pos="100000">
                      <a:schemeClr val="bg1">
                        <a:lumMod val="96000"/>
                      </a:schemeClr>
                    </a:gs>
                    <a:gs pos="0">
                      <a:schemeClr val="bg1">
                        <a:lumMod val="65000"/>
                      </a:schemeClr>
                    </a:gs>
                  </a:gsLst>
                  <a:lin ang="2700000" scaled="1"/>
                  <a:tileRect/>
                </a:gra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圆角矩形 29"/>
              <p:cNvSpPr/>
              <p:nvPr/>
            </p:nvSpPr>
            <p:spPr>
              <a:xfrm>
                <a:off x="4742449" y="2216782"/>
                <a:ext cx="3801476" cy="3801476"/>
              </a:xfrm>
              <a:prstGeom prst="roundRect">
                <a:avLst>
                  <a:gd name="adj" fmla="val 9970"/>
                </a:avLst>
              </a:prstGeom>
              <a:noFill/>
              <a:ln w="22225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65000"/>
                      </a:schemeClr>
                    </a:gs>
                  </a:gsLst>
                  <a:lin ang="2700000" scaled="1"/>
                  <a:tileRect/>
                </a:gra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9" name="组合 60"/>
          <p:cNvGrpSpPr/>
          <p:nvPr/>
        </p:nvGrpSpPr>
        <p:grpSpPr>
          <a:xfrm>
            <a:off x="6260669" y="4510349"/>
            <a:ext cx="2237169" cy="1395727"/>
            <a:chOff x="8787513" y="1923540"/>
            <a:chExt cx="2091076" cy="2091076"/>
          </a:xfrm>
        </p:grpSpPr>
        <p:pic>
          <p:nvPicPr>
            <p:cNvPr id="62" name="图片 61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036689" y="2042434"/>
              <a:ext cx="1671344" cy="1787664"/>
            </a:xfrm>
            <a:custGeom>
              <a:avLst/>
              <a:gdLst>
                <a:gd name="connsiteX0" fmla="*/ 0 w 2579914"/>
                <a:gd name="connsiteY0" fmla="*/ 0 h 2296885"/>
                <a:gd name="connsiteX1" fmla="*/ 2579914 w 2579914"/>
                <a:gd name="connsiteY1" fmla="*/ 0 h 2296885"/>
                <a:gd name="connsiteX2" fmla="*/ 2579914 w 2579914"/>
                <a:gd name="connsiteY2" fmla="*/ 2296885 h 2296885"/>
                <a:gd name="connsiteX3" fmla="*/ 0 w 2579914"/>
                <a:gd name="connsiteY3" fmla="*/ 2296885 h 2296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9914" h="2296885">
                  <a:moveTo>
                    <a:pt x="0" y="0"/>
                  </a:moveTo>
                  <a:lnTo>
                    <a:pt x="2579914" y="0"/>
                  </a:lnTo>
                  <a:lnTo>
                    <a:pt x="2579914" y="2296885"/>
                  </a:lnTo>
                  <a:lnTo>
                    <a:pt x="0" y="2296885"/>
                  </a:lnTo>
                  <a:close/>
                </a:path>
              </a:pathLst>
            </a:custGeom>
            <a:blipFill dpi="0"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t="2"/>
              </a:stretch>
            </a:blipFill>
          </p:spPr>
        </p:pic>
        <p:grpSp>
          <p:nvGrpSpPr>
            <p:cNvPr id="10" name="组合 62"/>
            <p:cNvGrpSpPr/>
            <p:nvPr/>
          </p:nvGrpSpPr>
          <p:grpSpPr>
            <a:xfrm>
              <a:off x="8787513" y="1923540"/>
              <a:ext cx="2091076" cy="2091076"/>
              <a:chOff x="4742449" y="2216782"/>
              <a:chExt cx="3801476" cy="3801476"/>
            </a:xfrm>
          </p:grpSpPr>
          <p:sp>
            <p:nvSpPr>
              <p:cNvPr id="64" name="任意多边形 33"/>
              <p:cNvSpPr/>
              <p:nvPr/>
            </p:nvSpPr>
            <p:spPr>
              <a:xfrm>
                <a:off x="4742449" y="2216782"/>
                <a:ext cx="3801476" cy="3801476"/>
              </a:xfrm>
              <a:custGeom>
                <a:avLst/>
                <a:gdLst>
                  <a:gd name="connsiteX0" fmla="*/ 627244 w 3801476"/>
                  <a:gd name="connsiteY0" fmla="*/ 310063 h 3801476"/>
                  <a:gd name="connsiteX1" fmla="*/ 310063 w 3801476"/>
                  <a:gd name="connsiteY1" fmla="*/ 627244 h 3801476"/>
                  <a:gd name="connsiteX2" fmla="*/ 310063 w 3801476"/>
                  <a:gd name="connsiteY2" fmla="*/ 3174232 h 3801476"/>
                  <a:gd name="connsiteX3" fmla="*/ 627244 w 3801476"/>
                  <a:gd name="connsiteY3" fmla="*/ 3491413 h 3801476"/>
                  <a:gd name="connsiteX4" fmla="*/ 3174232 w 3801476"/>
                  <a:gd name="connsiteY4" fmla="*/ 3491413 h 3801476"/>
                  <a:gd name="connsiteX5" fmla="*/ 3491413 w 3801476"/>
                  <a:gd name="connsiteY5" fmla="*/ 3174232 h 3801476"/>
                  <a:gd name="connsiteX6" fmla="*/ 3491413 w 3801476"/>
                  <a:gd name="connsiteY6" fmla="*/ 627244 h 3801476"/>
                  <a:gd name="connsiteX7" fmla="*/ 3174232 w 3801476"/>
                  <a:gd name="connsiteY7" fmla="*/ 310063 h 3801476"/>
                  <a:gd name="connsiteX8" fmla="*/ 379007 w 3801476"/>
                  <a:gd name="connsiteY8" fmla="*/ 0 h 3801476"/>
                  <a:gd name="connsiteX9" fmla="*/ 3422469 w 3801476"/>
                  <a:gd name="connsiteY9" fmla="*/ 0 h 3801476"/>
                  <a:gd name="connsiteX10" fmla="*/ 3801476 w 3801476"/>
                  <a:gd name="connsiteY10" fmla="*/ 379007 h 3801476"/>
                  <a:gd name="connsiteX11" fmla="*/ 3801476 w 3801476"/>
                  <a:gd name="connsiteY11" fmla="*/ 3422469 h 3801476"/>
                  <a:gd name="connsiteX12" fmla="*/ 3422469 w 3801476"/>
                  <a:gd name="connsiteY12" fmla="*/ 3801476 h 3801476"/>
                  <a:gd name="connsiteX13" fmla="*/ 379007 w 3801476"/>
                  <a:gd name="connsiteY13" fmla="*/ 3801476 h 3801476"/>
                  <a:gd name="connsiteX14" fmla="*/ 0 w 3801476"/>
                  <a:gd name="connsiteY14" fmla="*/ 3422469 h 3801476"/>
                  <a:gd name="connsiteX15" fmla="*/ 0 w 3801476"/>
                  <a:gd name="connsiteY15" fmla="*/ 379007 h 3801476"/>
                  <a:gd name="connsiteX16" fmla="*/ 379007 w 3801476"/>
                  <a:gd name="connsiteY16" fmla="*/ 0 h 3801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801476" h="3801476">
                    <a:moveTo>
                      <a:pt x="627244" y="310063"/>
                    </a:moveTo>
                    <a:cubicBezTo>
                      <a:pt x="452070" y="310063"/>
                      <a:pt x="310063" y="452070"/>
                      <a:pt x="310063" y="627244"/>
                    </a:cubicBezTo>
                    <a:lnTo>
                      <a:pt x="310063" y="3174232"/>
                    </a:lnTo>
                    <a:cubicBezTo>
                      <a:pt x="310063" y="3349406"/>
                      <a:pt x="452070" y="3491413"/>
                      <a:pt x="627244" y="3491413"/>
                    </a:cubicBezTo>
                    <a:lnTo>
                      <a:pt x="3174232" y="3491413"/>
                    </a:lnTo>
                    <a:cubicBezTo>
                      <a:pt x="3349406" y="3491413"/>
                      <a:pt x="3491413" y="3349406"/>
                      <a:pt x="3491413" y="3174232"/>
                    </a:cubicBezTo>
                    <a:lnTo>
                      <a:pt x="3491413" y="627244"/>
                    </a:lnTo>
                    <a:cubicBezTo>
                      <a:pt x="3491413" y="452070"/>
                      <a:pt x="3349406" y="310063"/>
                      <a:pt x="3174232" y="310063"/>
                    </a:cubicBezTo>
                    <a:close/>
                    <a:moveTo>
                      <a:pt x="379007" y="0"/>
                    </a:moveTo>
                    <a:lnTo>
                      <a:pt x="3422469" y="0"/>
                    </a:lnTo>
                    <a:cubicBezTo>
                      <a:pt x="3631789" y="0"/>
                      <a:pt x="3801476" y="169687"/>
                      <a:pt x="3801476" y="379007"/>
                    </a:cubicBezTo>
                    <a:lnTo>
                      <a:pt x="3801476" y="3422469"/>
                    </a:lnTo>
                    <a:cubicBezTo>
                      <a:pt x="3801476" y="3631789"/>
                      <a:pt x="3631789" y="3801476"/>
                      <a:pt x="3422469" y="3801476"/>
                    </a:cubicBezTo>
                    <a:lnTo>
                      <a:pt x="379007" y="3801476"/>
                    </a:lnTo>
                    <a:cubicBezTo>
                      <a:pt x="169687" y="3801476"/>
                      <a:pt x="0" y="3631789"/>
                      <a:pt x="0" y="3422469"/>
                    </a:cubicBezTo>
                    <a:lnTo>
                      <a:pt x="0" y="379007"/>
                    </a:lnTo>
                    <a:cubicBezTo>
                      <a:pt x="0" y="169687"/>
                      <a:pt x="169687" y="0"/>
                      <a:pt x="379007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  <a:ln w="25400">
                <a:noFill/>
              </a:ln>
              <a:effectLst>
                <a:outerShdw blurRad="177800" dist="88900" dir="2700000" algn="tl" rotWithShape="0">
                  <a:prstClr val="black">
                    <a:alpha val="5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prstClr val="white"/>
                  </a:solidFill>
                </a:endParaRPr>
              </a:p>
            </p:txBody>
          </p:sp>
          <p:sp>
            <p:nvSpPr>
              <p:cNvPr id="65" name="圆角矩形 34"/>
              <p:cNvSpPr/>
              <p:nvPr/>
            </p:nvSpPr>
            <p:spPr>
              <a:xfrm>
                <a:off x="5052512" y="2526845"/>
                <a:ext cx="3181350" cy="3181350"/>
              </a:xfrm>
              <a:prstGeom prst="roundRect">
                <a:avLst>
                  <a:gd name="adj" fmla="val 9970"/>
                </a:avLst>
              </a:prstGeom>
              <a:noFill/>
              <a:ln w="76200">
                <a:gradFill flip="none" rotWithShape="1">
                  <a:gsLst>
                    <a:gs pos="100000">
                      <a:schemeClr val="bg1">
                        <a:lumMod val="96000"/>
                      </a:schemeClr>
                    </a:gs>
                    <a:gs pos="0">
                      <a:schemeClr val="bg1">
                        <a:lumMod val="65000"/>
                      </a:schemeClr>
                    </a:gs>
                  </a:gsLst>
                  <a:lin ang="2700000" scaled="1"/>
                  <a:tileRect/>
                </a:gra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圆角矩形 35"/>
              <p:cNvSpPr/>
              <p:nvPr/>
            </p:nvSpPr>
            <p:spPr>
              <a:xfrm>
                <a:off x="4742449" y="2216782"/>
                <a:ext cx="3801476" cy="3801476"/>
              </a:xfrm>
              <a:prstGeom prst="roundRect">
                <a:avLst>
                  <a:gd name="adj" fmla="val 9970"/>
                </a:avLst>
              </a:prstGeom>
              <a:noFill/>
              <a:ln w="22225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65000"/>
                      </a:schemeClr>
                    </a:gs>
                  </a:gsLst>
                  <a:lin ang="2700000" scaled="1"/>
                  <a:tileRect/>
                </a:gra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44" name="组合 66"/>
          <p:cNvGrpSpPr/>
          <p:nvPr/>
        </p:nvGrpSpPr>
        <p:grpSpPr>
          <a:xfrm rot="10800000">
            <a:off x="1116949" y="5980364"/>
            <a:ext cx="1395726" cy="667136"/>
            <a:chOff x="964485" y="4901866"/>
            <a:chExt cx="2061239" cy="638373"/>
          </a:xfrm>
        </p:grpSpPr>
        <p:sp>
          <p:nvSpPr>
            <p:cNvPr id="45" name="任意多边形 37"/>
            <p:cNvSpPr/>
            <p:nvPr/>
          </p:nvSpPr>
          <p:spPr>
            <a:xfrm>
              <a:off x="964485" y="4901866"/>
              <a:ext cx="2061239" cy="638373"/>
            </a:xfrm>
            <a:custGeom>
              <a:avLst/>
              <a:gdLst>
                <a:gd name="connsiteX0" fmla="*/ 50498 w 1930400"/>
                <a:gd name="connsiteY0" fmla="*/ 0 h 638521"/>
                <a:gd name="connsiteX1" fmla="*/ 1879902 w 1930400"/>
                <a:gd name="connsiteY1" fmla="*/ 0 h 638521"/>
                <a:gd name="connsiteX2" fmla="*/ 1930400 w 1930400"/>
                <a:gd name="connsiteY2" fmla="*/ 50498 h 638521"/>
                <a:gd name="connsiteX3" fmla="*/ 1930400 w 1930400"/>
                <a:gd name="connsiteY3" fmla="*/ 442988 h 638521"/>
                <a:gd name="connsiteX4" fmla="*/ 1879902 w 1930400"/>
                <a:gd name="connsiteY4" fmla="*/ 493486 h 638521"/>
                <a:gd name="connsiteX5" fmla="*/ 1124527 w 1930400"/>
                <a:gd name="connsiteY5" fmla="*/ 493486 h 638521"/>
                <a:gd name="connsiteX6" fmla="*/ 965200 w 1930400"/>
                <a:gd name="connsiteY6" fmla="*/ 638521 h 638521"/>
                <a:gd name="connsiteX7" fmla="*/ 805872 w 1930400"/>
                <a:gd name="connsiteY7" fmla="*/ 493486 h 638521"/>
                <a:gd name="connsiteX8" fmla="*/ 50498 w 1930400"/>
                <a:gd name="connsiteY8" fmla="*/ 493486 h 638521"/>
                <a:gd name="connsiteX9" fmla="*/ 0 w 1930400"/>
                <a:gd name="connsiteY9" fmla="*/ 442988 h 638521"/>
                <a:gd name="connsiteX10" fmla="*/ 0 w 1930400"/>
                <a:gd name="connsiteY10" fmla="*/ 50498 h 638521"/>
                <a:gd name="connsiteX11" fmla="*/ 50498 w 1930400"/>
                <a:gd name="connsiteY11" fmla="*/ 0 h 638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30400" h="638521">
                  <a:moveTo>
                    <a:pt x="50498" y="0"/>
                  </a:moveTo>
                  <a:lnTo>
                    <a:pt x="1879902" y="0"/>
                  </a:lnTo>
                  <a:cubicBezTo>
                    <a:pt x="1907791" y="0"/>
                    <a:pt x="1930400" y="22609"/>
                    <a:pt x="1930400" y="50498"/>
                  </a:cubicBezTo>
                  <a:lnTo>
                    <a:pt x="1930400" y="442988"/>
                  </a:lnTo>
                  <a:cubicBezTo>
                    <a:pt x="1930400" y="470877"/>
                    <a:pt x="1907791" y="493486"/>
                    <a:pt x="1879902" y="493486"/>
                  </a:cubicBezTo>
                  <a:lnTo>
                    <a:pt x="1124527" y="493486"/>
                  </a:lnTo>
                  <a:lnTo>
                    <a:pt x="965200" y="638521"/>
                  </a:lnTo>
                  <a:lnTo>
                    <a:pt x="805872" y="493486"/>
                  </a:lnTo>
                  <a:lnTo>
                    <a:pt x="50498" y="493486"/>
                  </a:lnTo>
                  <a:cubicBezTo>
                    <a:pt x="22609" y="493486"/>
                    <a:pt x="0" y="470877"/>
                    <a:pt x="0" y="442988"/>
                  </a:cubicBezTo>
                  <a:lnTo>
                    <a:pt x="0" y="50498"/>
                  </a:lnTo>
                  <a:cubicBezTo>
                    <a:pt x="0" y="22609"/>
                    <a:pt x="22609" y="0"/>
                    <a:pt x="50498" y="0"/>
                  </a:cubicBezTo>
                  <a:close/>
                </a:path>
              </a:pathLst>
            </a:custGeom>
            <a:solidFill>
              <a:srgbClr val="1194DD"/>
            </a:solidFill>
            <a:ln>
              <a:noFill/>
            </a:ln>
            <a:effectLst>
              <a:outerShdw blurRad="101600" dist="508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prstClr val="white"/>
                </a:solidFill>
              </a:endParaRPr>
            </a:p>
          </p:txBody>
        </p:sp>
        <p:sp>
          <p:nvSpPr>
            <p:cNvPr id="46" name="TextBox 11"/>
            <p:cNvSpPr txBox="1"/>
            <p:nvPr/>
          </p:nvSpPr>
          <p:spPr>
            <a:xfrm rot="10800000">
              <a:off x="1172213" y="4974420"/>
              <a:ext cx="1645782" cy="353409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zh-CN" altLang="en-US" b="1" dirty="0">
                  <a:solidFill>
                    <a:srgbClr val="FDFDFD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公司内景</a:t>
              </a:r>
            </a:p>
          </p:txBody>
        </p:sp>
      </p:grpSp>
      <p:sp>
        <p:nvSpPr>
          <p:cNvPr id="12" name="矩形: 圆角 11"/>
          <p:cNvSpPr/>
          <p:nvPr/>
        </p:nvSpPr>
        <p:spPr>
          <a:xfrm>
            <a:off x="707592" y="1196752"/>
            <a:ext cx="10572189" cy="3217794"/>
          </a:xfrm>
          <a:prstGeom prst="roundRect">
            <a:avLst/>
          </a:prstGeo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63500">
            <a:solidFill>
              <a:srgbClr val="1194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2" name="组合 66"/>
          <p:cNvGrpSpPr/>
          <p:nvPr/>
        </p:nvGrpSpPr>
        <p:grpSpPr>
          <a:xfrm rot="10800000">
            <a:off x="3868511" y="5985229"/>
            <a:ext cx="1395726" cy="667136"/>
            <a:chOff x="964485" y="4901866"/>
            <a:chExt cx="2061239" cy="638373"/>
          </a:xfrm>
        </p:grpSpPr>
        <p:sp>
          <p:nvSpPr>
            <p:cNvPr id="43" name="任意多边形 37"/>
            <p:cNvSpPr/>
            <p:nvPr/>
          </p:nvSpPr>
          <p:spPr>
            <a:xfrm>
              <a:off x="964485" y="4901866"/>
              <a:ext cx="2061239" cy="638373"/>
            </a:xfrm>
            <a:custGeom>
              <a:avLst/>
              <a:gdLst>
                <a:gd name="connsiteX0" fmla="*/ 50498 w 1930400"/>
                <a:gd name="connsiteY0" fmla="*/ 0 h 638521"/>
                <a:gd name="connsiteX1" fmla="*/ 1879902 w 1930400"/>
                <a:gd name="connsiteY1" fmla="*/ 0 h 638521"/>
                <a:gd name="connsiteX2" fmla="*/ 1930400 w 1930400"/>
                <a:gd name="connsiteY2" fmla="*/ 50498 h 638521"/>
                <a:gd name="connsiteX3" fmla="*/ 1930400 w 1930400"/>
                <a:gd name="connsiteY3" fmla="*/ 442988 h 638521"/>
                <a:gd name="connsiteX4" fmla="*/ 1879902 w 1930400"/>
                <a:gd name="connsiteY4" fmla="*/ 493486 h 638521"/>
                <a:gd name="connsiteX5" fmla="*/ 1124527 w 1930400"/>
                <a:gd name="connsiteY5" fmla="*/ 493486 h 638521"/>
                <a:gd name="connsiteX6" fmla="*/ 965200 w 1930400"/>
                <a:gd name="connsiteY6" fmla="*/ 638521 h 638521"/>
                <a:gd name="connsiteX7" fmla="*/ 805872 w 1930400"/>
                <a:gd name="connsiteY7" fmla="*/ 493486 h 638521"/>
                <a:gd name="connsiteX8" fmla="*/ 50498 w 1930400"/>
                <a:gd name="connsiteY8" fmla="*/ 493486 h 638521"/>
                <a:gd name="connsiteX9" fmla="*/ 0 w 1930400"/>
                <a:gd name="connsiteY9" fmla="*/ 442988 h 638521"/>
                <a:gd name="connsiteX10" fmla="*/ 0 w 1930400"/>
                <a:gd name="connsiteY10" fmla="*/ 50498 h 638521"/>
                <a:gd name="connsiteX11" fmla="*/ 50498 w 1930400"/>
                <a:gd name="connsiteY11" fmla="*/ 0 h 638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30400" h="638521">
                  <a:moveTo>
                    <a:pt x="50498" y="0"/>
                  </a:moveTo>
                  <a:lnTo>
                    <a:pt x="1879902" y="0"/>
                  </a:lnTo>
                  <a:cubicBezTo>
                    <a:pt x="1907791" y="0"/>
                    <a:pt x="1930400" y="22609"/>
                    <a:pt x="1930400" y="50498"/>
                  </a:cubicBezTo>
                  <a:lnTo>
                    <a:pt x="1930400" y="442988"/>
                  </a:lnTo>
                  <a:cubicBezTo>
                    <a:pt x="1930400" y="470877"/>
                    <a:pt x="1907791" y="493486"/>
                    <a:pt x="1879902" y="493486"/>
                  </a:cubicBezTo>
                  <a:lnTo>
                    <a:pt x="1124527" y="493486"/>
                  </a:lnTo>
                  <a:lnTo>
                    <a:pt x="965200" y="638521"/>
                  </a:lnTo>
                  <a:lnTo>
                    <a:pt x="805872" y="493486"/>
                  </a:lnTo>
                  <a:lnTo>
                    <a:pt x="50498" y="493486"/>
                  </a:lnTo>
                  <a:cubicBezTo>
                    <a:pt x="22609" y="493486"/>
                    <a:pt x="0" y="470877"/>
                    <a:pt x="0" y="442988"/>
                  </a:cubicBezTo>
                  <a:lnTo>
                    <a:pt x="0" y="50498"/>
                  </a:lnTo>
                  <a:cubicBezTo>
                    <a:pt x="0" y="22609"/>
                    <a:pt x="22609" y="0"/>
                    <a:pt x="50498" y="0"/>
                  </a:cubicBezTo>
                  <a:close/>
                </a:path>
              </a:pathLst>
            </a:custGeom>
            <a:solidFill>
              <a:srgbClr val="1194DD"/>
            </a:solidFill>
            <a:ln>
              <a:noFill/>
            </a:ln>
            <a:effectLst>
              <a:outerShdw blurRad="101600" dist="508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prstClr val="white"/>
                </a:solidFill>
              </a:endParaRPr>
            </a:p>
          </p:txBody>
        </p:sp>
        <p:sp>
          <p:nvSpPr>
            <p:cNvPr id="67" name="TextBox 11"/>
            <p:cNvSpPr txBox="1"/>
            <p:nvPr/>
          </p:nvSpPr>
          <p:spPr>
            <a:xfrm rot="10800000">
              <a:off x="1119751" y="4974420"/>
              <a:ext cx="1698245" cy="352421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lang="zh-CN" altLang="zh-CN" b="1" dirty="0">
                  <a:solidFill>
                    <a:srgbClr val="FDFDFD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团队拓展</a:t>
              </a:r>
            </a:p>
          </p:txBody>
        </p:sp>
      </p:grpSp>
      <p:grpSp>
        <p:nvGrpSpPr>
          <p:cNvPr id="68" name="组合 66"/>
          <p:cNvGrpSpPr/>
          <p:nvPr/>
        </p:nvGrpSpPr>
        <p:grpSpPr>
          <a:xfrm rot="10800000">
            <a:off x="6688975" y="5985229"/>
            <a:ext cx="1395726" cy="667136"/>
            <a:chOff x="964485" y="4901866"/>
            <a:chExt cx="2061239" cy="638373"/>
          </a:xfrm>
        </p:grpSpPr>
        <p:sp>
          <p:nvSpPr>
            <p:cNvPr id="69" name="任意多边形 37"/>
            <p:cNvSpPr/>
            <p:nvPr/>
          </p:nvSpPr>
          <p:spPr>
            <a:xfrm>
              <a:off x="964485" y="4901866"/>
              <a:ext cx="2061239" cy="638373"/>
            </a:xfrm>
            <a:custGeom>
              <a:avLst/>
              <a:gdLst>
                <a:gd name="connsiteX0" fmla="*/ 50498 w 1930400"/>
                <a:gd name="connsiteY0" fmla="*/ 0 h 638521"/>
                <a:gd name="connsiteX1" fmla="*/ 1879902 w 1930400"/>
                <a:gd name="connsiteY1" fmla="*/ 0 h 638521"/>
                <a:gd name="connsiteX2" fmla="*/ 1930400 w 1930400"/>
                <a:gd name="connsiteY2" fmla="*/ 50498 h 638521"/>
                <a:gd name="connsiteX3" fmla="*/ 1930400 w 1930400"/>
                <a:gd name="connsiteY3" fmla="*/ 442988 h 638521"/>
                <a:gd name="connsiteX4" fmla="*/ 1879902 w 1930400"/>
                <a:gd name="connsiteY4" fmla="*/ 493486 h 638521"/>
                <a:gd name="connsiteX5" fmla="*/ 1124527 w 1930400"/>
                <a:gd name="connsiteY5" fmla="*/ 493486 h 638521"/>
                <a:gd name="connsiteX6" fmla="*/ 965200 w 1930400"/>
                <a:gd name="connsiteY6" fmla="*/ 638521 h 638521"/>
                <a:gd name="connsiteX7" fmla="*/ 805872 w 1930400"/>
                <a:gd name="connsiteY7" fmla="*/ 493486 h 638521"/>
                <a:gd name="connsiteX8" fmla="*/ 50498 w 1930400"/>
                <a:gd name="connsiteY8" fmla="*/ 493486 h 638521"/>
                <a:gd name="connsiteX9" fmla="*/ 0 w 1930400"/>
                <a:gd name="connsiteY9" fmla="*/ 442988 h 638521"/>
                <a:gd name="connsiteX10" fmla="*/ 0 w 1930400"/>
                <a:gd name="connsiteY10" fmla="*/ 50498 h 638521"/>
                <a:gd name="connsiteX11" fmla="*/ 50498 w 1930400"/>
                <a:gd name="connsiteY11" fmla="*/ 0 h 638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30400" h="638521">
                  <a:moveTo>
                    <a:pt x="50498" y="0"/>
                  </a:moveTo>
                  <a:lnTo>
                    <a:pt x="1879902" y="0"/>
                  </a:lnTo>
                  <a:cubicBezTo>
                    <a:pt x="1907791" y="0"/>
                    <a:pt x="1930400" y="22609"/>
                    <a:pt x="1930400" y="50498"/>
                  </a:cubicBezTo>
                  <a:lnTo>
                    <a:pt x="1930400" y="442988"/>
                  </a:lnTo>
                  <a:cubicBezTo>
                    <a:pt x="1930400" y="470877"/>
                    <a:pt x="1907791" y="493486"/>
                    <a:pt x="1879902" y="493486"/>
                  </a:cubicBezTo>
                  <a:lnTo>
                    <a:pt x="1124527" y="493486"/>
                  </a:lnTo>
                  <a:lnTo>
                    <a:pt x="965200" y="638521"/>
                  </a:lnTo>
                  <a:lnTo>
                    <a:pt x="805872" y="493486"/>
                  </a:lnTo>
                  <a:lnTo>
                    <a:pt x="50498" y="493486"/>
                  </a:lnTo>
                  <a:cubicBezTo>
                    <a:pt x="22609" y="493486"/>
                    <a:pt x="0" y="470877"/>
                    <a:pt x="0" y="442988"/>
                  </a:cubicBezTo>
                  <a:lnTo>
                    <a:pt x="0" y="50498"/>
                  </a:lnTo>
                  <a:cubicBezTo>
                    <a:pt x="0" y="22609"/>
                    <a:pt x="22609" y="0"/>
                    <a:pt x="50498" y="0"/>
                  </a:cubicBezTo>
                  <a:close/>
                </a:path>
              </a:pathLst>
            </a:custGeom>
            <a:solidFill>
              <a:srgbClr val="1194DD"/>
            </a:solidFill>
            <a:ln>
              <a:noFill/>
            </a:ln>
            <a:effectLst>
              <a:outerShdw blurRad="101600" dist="508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prstClr val="white"/>
                </a:solidFill>
              </a:endParaRPr>
            </a:p>
          </p:txBody>
        </p:sp>
        <p:sp>
          <p:nvSpPr>
            <p:cNvPr id="70" name="TextBox 11"/>
            <p:cNvSpPr txBox="1"/>
            <p:nvPr/>
          </p:nvSpPr>
          <p:spPr>
            <a:xfrm rot="10800000">
              <a:off x="1172213" y="4974420"/>
              <a:ext cx="1645782" cy="353409"/>
            </a:xfrm>
            <a:prstGeom prst="rect">
              <a:avLst/>
            </a:prstGeom>
            <a:noFill/>
          </p:spPr>
          <p:txBody>
            <a:bodyPr vert="horz" wrap="none" rtlCol="0">
              <a:spAutoFit/>
            </a:bodyPr>
            <a:lstStyle/>
            <a:p>
              <a:r>
                <a:rPr lang="zh-CN" altLang="en-US" b="1" dirty="0">
                  <a:solidFill>
                    <a:srgbClr val="FDFDFD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公司仓储</a:t>
              </a:r>
            </a:p>
          </p:txBody>
        </p:sp>
      </p:grpSp>
      <p:grpSp>
        <p:nvGrpSpPr>
          <p:cNvPr id="71" name="组合 66"/>
          <p:cNvGrpSpPr/>
          <p:nvPr/>
        </p:nvGrpSpPr>
        <p:grpSpPr>
          <a:xfrm rot="10800000">
            <a:off x="9401145" y="5989576"/>
            <a:ext cx="1395726" cy="667136"/>
            <a:chOff x="964485" y="4901866"/>
            <a:chExt cx="2061239" cy="638373"/>
          </a:xfrm>
        </p:grpSpPr>
        <p:sp>
          <p:nvSpPr>
            <p:cNvPr id="72" name="任意多边形 37"/>
            <p:cNvSpPr/>
            <p:nvPr/>
          </p:nvSpPr>
          <p:spPr>
            <a:xfrm>
              <a:off x="964485" y="4901866"/>
              <a:ext cx="2061239" cy="638373"/>
            </a:xfrm>
            <a:custGeom>
              <a:avLst/>
              <a:gdLst>
                <a:gd name="connsiteX0" fmla="*/ 50498 w 1930400"/>
                <a:gd name="connsiteY0" fmla="*/ 0 h 638521"/>
                <a:gd name="connsiteX1" fmla="*/ 1879902 w 1930400"/>
                <a:gd name="connsiteY1" fmla="*/ 0 h 638521"/>
                <a:gd name="connsiteX2" fmla="*/ 1930400 w 1930400"/>
                <a:gd name="connsiteY2" fmla="*/ 50498 h 638521"/>
                <a:gd name="connsiteX3" fmla="*/ 1930400 w 1930400"/>
                <a:gd name="connsiteY3" fmla="*/ 442988 h 638521"/>
                <a:gd name="connsiteX4" fmla="*/ 1879902 w 1930400"/>
                <a:gd name="connsiteY4" fmla="*/ 493486 h 638521"/>
                <a:gd name="connsiteX5" fmla="*/ 1124527 w 1930400"/>
                <a:gd name="connsiteY5" fmla="*/ 493486 h 638521"/>
                <a:gd name="connsiteX6" fmla="*/ 965200 w 1930400"/>
                <a:gd name="connsiteY6" fmla="*/ 638521 h 638521"/>
                <a:gd name="connsiteX7" fmla="*/ 805872 w 1930400"/>
                <a:gd name="connsiteY7" fmla="*/ 493486 h 638521"/>
                <a:gd name="connsiteX8" fmla="*/ 50498 w 1930400"/>
                <a:gd name="connsiteY8" fmla="*/ 493486 h 638521"/>
                <a:gd name="connsiteX9" fmla="*/ 0 w 1930400"/>
                <a:gd name="connsiteY9" fmla="*/ 442988 h 638521"/>
                <a:gd name="connsiteX10" fmla="*/ 0 w 1930400"/>
                <a:gd name="connsiteY10" fmla="*/ 50498 h 638521"/>
                <a:gd name="connsiteX11" fmla="*/ 50498 w 1930400"/>
                <a:gd name="connsiteY11" fmla="*/ 0 h 638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30400" h="638521">
                  <a:moveTo>
                    <a:pt x="50498" y="0"/>
                  </a:moveTo>
                  <a:lnTo>
                    <a:pt x="1879902" y="0"/>
                  </a:lnTo>
                  <a:cubicBezTo>
                    <a:pt x="1907791" y="0"/>
                    <a:pt x="1930400" y="22609"/>
                    <a:pt x="1930400" y="50498"/>
                  </a:cubicBezTo>
                  <a:lnTo>
                    <a:pt x="1930400" y="442988"/>
                  </a:lnTo>
                  <a:cubicBezTo>
                    <a:pt x="1930400" y="470877"/>
                    <a:pt x="1907791" y="493486"/>
                    <a:pt x="1879902" y="493486"/>
                  </a:cubicBezTo>
                  <a:lnTo>
                    <a:pt x="1124527" y="493486"/>
                  </a:lnTo>
                  <a:lnTo>
                    <a:pt x="965200" y="638521"/>
                  </a:lnTo>
                  <a:lnTo>
                    <a:pt x="805872" y="493486"/>
                  </a:lnTo>
                  <a:lnTo>
                    <a:pt x="50498" y="493486"/>
                  </a:lnTo>
                  <a:cubicBezTo>
                    <a:pt x="22609" y="493486"/>
                    <a:pt x="0" y="470877"/>
                    <a:pt x="0" y="442988"/>
                  </a:cubicBezTo>
                  <a:lnTo>
                    <a:pt x="0" y="50498"/>
                  </a:lnTo>
                  <a:cubicBezTo>
                    <a:pt x="0" y="22609"/>
                    <a:pt x="22609" y="0"/>
                    <a:pt x="50498" y="0"/>
                  </a:cubicBezTo>
                  <a:close/>
                </a:path>
              </a:pathLst>
            </a:custGeom>
            <a:solidFill>
              <a:srgbClr val="1194DD"/>
            </a:solidFill>
            <a:ln>
              <a:noFill/>
            </a:ln>
            <a:effectLst>
              <a:outerShdw blurRad="101600" dist="508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prstClr val="white"/>
                </a:solidFill>
              </a:endParaRPr>
            </a:p>
          </p:txBody>
        </p:sp>
        <p:sp>
          <p:nvSpPr>
            <p:cNvPr id="73" name="TextBox 11"/>
            <p:cNvSpPr txBox="1"/>
            <p:nvPr/>
          </p:nvSpPr>
          <p:spPr>
            <a:xfrm rot="10800000">
              <a:off x="964486" y="4974420"/>
              <a:ext cx="1853511" cy="353408"/>
            </a:xfrm>
            <a:prstGeom prst="rect">
              <a:avLst/>
            </a:prstGeom>
            <a:noFill/>
          </p:spPr>
          <p:txBody>
            <a:bodyPr vert="horz" wrap="square" rtlCol="0">
              <a:spAutoFit/>
            </a:bodyPr>
            <a:lstStyle/>
            <a:p>
              <a:r>
                <a:rPr lang="zh-CN" altLang="en-US" b="1" dirty="0">
                  <a:solidFill>
                    <a:srgbClr val="FDFDFD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资质荣誉</a:t>
              </a:r>
            </a:p>
          </p:txBody>
        </p:sp>
      </p:grpSp>
      <p:sp>
        <p:nvSpPr>
          <p:cNvPr id="41" name="文本框 1"/>
          <p:cNvSpPr>
            <a:spLocks noChangeArrowheads="1"/>
          </p:cNvSpPr>
          <p:nvPr/>
        </p:nvSpPr>
        <p:spPr bwMode="auto">
          <a:xfrm>
            <a:off x="4799226" y="393428"/>
            <a:ext cx="21666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6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团队风采</a:t>
            </a:r>
          </a:p>
        </p:txBody>
      </p:sp>
      <p:grpSp>
        <p:nvGrpSpPr>
          <p:cNvPr id="35" name="组合 60">
            <a:extLst>
              <a:ext uri="{FF2B5EF4-FFF2-40B4-BE49-F238E27FC236}">
                <a16:creationId xmlns:a16="http://schemas.microsoft.com/office/drawing/2014/main" id="{3FC32398-C99D-4C25-A04C-509F1481C1D3}"/>
              </a:ext>
            </a:extLst>
          </p:cNvPr>
          <p:cNvGrpSpPr/>
          <p:nvPr/>
        </p:nvGrpSpPr>
        <p:grpSpPr>
          <a:xfrm>
            <a:off x="3508684" y="4498943"/>
            <a:ext cx="2237169" cy="1395727"/>
            <a:chOff x="8787513" y="1923540"/>
            <a:chExt cx="2091076" cy="2091076"/>
          </a:xfrm>
        </p:grpSpPr>
        <p:pic>
          <p:nvPicPr>
            <p:cNvPr id="36" name="图片 35">
              <a:extLst>
                <a:ext uri="{FF2B5EF4-FFF2-40B4-BE49-F238E27FC236}">
                  <a16:creationId xmlns:a16="http://schemas.microsoft.com/office/drawing/2014/main" id="{CC090686-CD86-4457-AC33-7C637202AA1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849429" y="2014896"/>
              <a:ext cx="1858604" cy="1787664"/>
            </a:xfrm>
            <a:custGeom>
              <a:avLst/>
              <a:gdLst>
                <a:gd name="connsiteX0" fmla="*/ 0 w 2579914"/>
                <a:gd name="connsiteY0" fmla="*/ 0 h 2296885"/>
                <a:gd name="connsiteX1" fmla="*/ 2579914 w 2579914"/>
                <a:gd name="connsiteY1" fmla="*/ 0 h 2296885"/>
                <a:gd name="connsiteX2" fmla="*/ 2579914 w 2579914"/>
                <a:gd name="connsiteY2" fmla="*/ 2296885 h 2296885"/>
                <a:gd name="connsiteX3" fmla="*/ 0 w 2579914"/>
                <a:gd name="connsiteY3" fmla="*/ 2296885 h 2296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9914" h="2296885">
                  <a:moveTo>
                    <a:pt x="0" y="0"/>
                  </a:moveTo>
                  <a:lnTo>
                    <a:pt x="2579914" y="0"/>
                  </a:lnTo>
                  <a:lnTo>
                    <a:pt x="2579914" y="2296885"/>
                  </a:lnTo>
                  <a:lnTo>
                    <a:pt x="0" y="2296885"/>
                  </a:lnTo>
                  <a:close/>
                </a:path>
              </a:pathLst>
            </a:custGeom>
            <a:blipFill dpi="0"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t="2"/>
              </a:stretch>
            </a:blipFill>
          </p:spPr>
        </p:pic>
        <p:grpSp>
          <p:nvGrpSpPr>
            <p:cNvPr id="37" name="组合 62">
              <a:extLst>
                <a:ext uri="{FF2B5EF4-FFF2-40B4-BE49-F238E27FC236}">
                  <a16:creationId xmlns:a16="http://schemas.microsoft.com/office/drawing/2014/main" id="{9022AABC-CC1B-4980-B12A-1E1CD89E3D88}"/>
                </a:ext>
              </a:extLst>
            </p:cNvPr>
            <p:cNvGrpSpPr/>
            <p:nvPr/>
          </p:nvGrpSpPr>
          <p:grpSpPr>
            <a:xfrm>
              <a:off x="8787513" y="1923540"/>
              <a:ext cx="2091076" cy="2091076"/>
              <a:chOff x="4742449" y="2216782"/>
              <a:chExt cx="3801476" cy="3801476"/>
            </a:xfrm>
          </p:grpSpPr>
          <p:sp>
            <p:nvSpPr>
              <p:cNvPr id="38" name="任意多边形 33">
                <a:extLst>
                  <a:ext uri="{FF2B5EF4-FFF2-40B4-BE49-F238E27FC236}">
                    <a16:creationId xmlns:a16="http://schemas.microsoft.com/office/drawing/2014/main" id="{1BEAA339-D512-466C-A1C8-2E779A0ECF70}"/>
                  </a:ext>
                </a:extLst>
              </p:cNvPr>
              <p:cNvSpPr/>
              <p:nvPr/>
            </p:nvSpPr>
            <p:spPr>
              <a:xfrm>
                <a:off x="4742449" y="2216782"/>
                <a:ext cx="3801476" cy="3801476"/>
              </a:xfrm>
              <a:custGeom>
                <a:avLst/>
                <a:gdLst>
                  <a:gd name="connsiteX0" fmla="*/ 627244 w 3801476"/>
                  <a:gd name="connsiteY0" fmla="*/ 310063 h 3801476"/>
                  <a:gd name="connsiteX1" fmla="*/ 310063 w 3801476"/>
                  <a:gd name="connsiteY1" fmla="*/ 627244 h 3801476"/>
                  <a:gd name="connsiteX2" fmla="*/ 310063 w 3801476"/>
                  <a:gd name="connsiteY2" fmla="*/ 3174232 h 3801476"/>
                  <a:gd name="connsiteX3" fmla="*/ 627244 w 3801476"/>
                  <a:gd name="connsiteY3" fmla="*/ 3491413 h 3801476"/>
                  <a:gd name="connsiteX4" fmla="*/ 3174232 w 3801476"/>
                  <a:gd name="connsiteY4" fmla="*/ 3491413 h 3801476"/>
                  <a:gd name="connsiteX5" fmla="*/ 3491413 w 3801476"/>
                  <a:gd name="connsiteY5" fmla="*/ 3174232 h 3801476"/>
                  <a:gd name="connsiteX6" fmla="*/ 3491413 w 3801476"/>
                  <a:gd name="connsiteY6" fmla="*/ 627244 h 3801476"/>
                  <a:gd name="connsiteX7" fmla="*/ 3174232 w 3801476"/>
                  <a:gd name="connsiteY7" fmla="*/ 310063 h 3801476"/>
                  <a:gd name="connsiteX8" fmla="*/ 379007 w 3801476"/>
                  <a:gd name="connsiteY8" fmla="*/ 0 h 3801476"/>
                  <a:gd name="connsiteX9" fmla="*/ 3422469 w 3801476"/>
                  <a:gd name="connsiteY9" fmla="*/ 0 h 3801476"/>
                  <a:gd name="connsiteX10" fmla="*/ 3801476 w 3801476"/>
                  <a:gd name="connsiteY10" fmla="*/ 379007 h 3801476"/>
                  <a:gd name="connsiteX11" fmla="*/ 3801476 w 3801476"/>
                  <a:gd name="connsiteY11" fmla="*/ 3422469 h 3801476"/>
                  <a:gd name="connsiteX12" fmla="*/ 3422469 w 3801476"/>
                  <a:gd name="connsiteY12" fmla="*/ 3801476 h 3801476"/>
                  <a:gd name="connsiteX13" fmla="*/ 379007 w 3801476"/>
                  <a:gd name="connsiteY13" fmla="*/ 3801476 h 3801476"/>
                  <a:gd name="connsiteX14" fmla="*/ 0 w 3801476"/>
                  <a:gd name="connsiteY14" fmla="*/ 3422469 h 3801476"/>
                  <a:gd name="connsiteX15" fmla="*/ 0 w 3801476"/>
                  <a:gd name="connsiteY15" fmla="*/ 379007 h 3801476"/>
                  <a:gd name="connsiteX16" fmla="*/ 379007 w 3801476"/>
                  <a:gd name="connsiteY16" fmla="*/ 0 h 3801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801476" h="3801476">
                    <a:moveTo>
                      <a:pt x="627244" y="310063"/>
                    </a:moveTo>
                    <a:cubicBezTo>
                      <a:pt x="452070" y="310063"/>
                      <a:pt x="310063" y="452070"/>
                      <a:pt x="310063" y="627244"/>
                    </a:cubicBezTo>
                    <a:lnTo>
                      <a:pt x="310063" y="3174232"/>
                    </a:lnTo>
                    <a:cubicBezTo>
                      <a:pt x="310063" y="3349406"/>
                      <a:pt x="452070" y="3491413"/>
                      <a:pt x="627244" y="3491413"/>
                    </a:cubicBezTo>
                    <a:lnTo>
                      <a:pt x="3174232" y="3491413"/>
                    </a:lnTo>
                    <a:cubicBezTo>
                      <a:pt x="3349406" y="3491413"/>
                      <a:pt x="3491413" y="3349406"/>
                      <a:pt x="3491413" y="3174232"/>
                    </a:cubicBezTo>
                    <a:lnTo>
                      <a:pt x="3491413" y="627244"/>
                    </a:lnTo>
                    <a:cubicBezTo>
                      <a:pt x="3491413" y="452070"/>
                      <a:pt x="3349406" y="310063"/>
                      <a:pt x="3174232" y="310063"/>
                    </a:cubicBezTo>
                    <a:close/>
                    <a:moveTo>
                      <a:pt x="379007" y="0"/>
                    </a:moveTo>
                    <a:lnTo>
                      <a:pt x="3422469" y="0"/>
                    </a:lnTo>
                    <a:cubicBezTo>
                      <a:pt x="3631789" y="0"/>
                      <a:pt x="3801476" y="169687"/>
                      <a:pt x="3801476" y="379007"/>
                    </a:cubicBezTo>
                    <a:lnTo>
                      <a:pt x="3801476" y="3422469"/>
                    </a:lnTo>
                    <a:cubicBezTo>
                      <a:pt x="3801476" y="3631789"/>
                      <a:pt x="3631789" y="3801476"/>
                      <a:pt x="3422469" y="3801476"/>
                    </a:cubicBezTo>
                    <a:lnTo>
                      <a:pt x="379007" y="3801476"/>
                    </a:lnTo>
                    <a:cubicBezTo>
                      <a:pt x="169687" y="3801476"/>
                      <a:pt x="0" y="3631789"/>
                      <a:pt x="0" y="3422469"/>
                    </a:cubicBezTo>
                    <a:lnTo>
                      <a:pt x="0" y="379007"/>
                    </a:lnTo>
                    <a:cubicBezTo>
                      <a:pt x="0" y="169687"/>
                      <a:pt x="169687" y="0"/>
                      <a:pt x="379007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  <a:ln w="25400">
                <a:noFill/>
              </a:ln>
              <a:effectLst>
                <a:outerShdw blurRad="177800" dist="88900" dir="2700000" algn="tl" rotWithShape="0">
                  <a:prstClr val="black">
                    <a:alpha val="5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prstClr val="white"/>
                  </a:solidFill>
                </a:endParaRPr>
              </a:p>
            </p:txBody>
          </p:sp>
          <p:sp>
            <p:nvSpPr>
              <p:cNvPr id="39" name="圆角矩形 34">
                <a:extLst>
                  <a:ext uri="{FF2B5EF4-FFF2-40B4-BE49-F238E27FC236}">
                    <a16:creationId xmlns:a16="http://schemas.microsoft.com/office/drawing/2014/main" id="{6382531C-4E49-45C9-ADB4-C303ADFEDC12}"/>
                  </a:ext>
                </a:extLst>
              </p:cNvPr>
              <p:cNvSpPr/>
              <p:nvPr/>
            </p:nvSpPr>
            <p:spPr>
              <a:xfrm>
                <a:off x="5052512" y="2526845"/>
                <a:ext cx="3181350" cy="3181350"/>
              </a:xfrm>
              <a:prstGeom prst="roundRect">
                <a:avLst>
                  <a:gd name="adj" fmla="val 9970"/>
                </a:avLst>
              </a:prstGeom>
              <a:noFill/>
              <a:ln w="76200">
                <a:gradFill flip="none" rotWithShape="1">
                  <a:gsLst>
                    <a:gs pos="100000">
                      <a:schemeClr val="bg1">
                        <a:lumMod val="96000"/>
                      </a:schemeClr>
                    </a:gs>
                    <a:gs pos="0">
                      <a:schemeClr val="bg1">
                        <a:lumMod val="65000"/>
                      </a:schemeClr>
                    </a:gs>
                  </a:gsLst>
                  <a:lin ang="2700000" scaled="1"/>
                  <a:tileRect/>
                </a:gra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prstClr val="white"/>
                  </a:solidFill>
                </a:endParaRPr>
              </a:p>
            </p:txBody>
          </p:sp>
          <p:sp>
            <p:nvSpPr>
              <p:cNvPr id="40" name="圆角矩形 35">
                <a:extLst>
                  <a:ext uri="{FF2B5EF4-FFF2-40B4-BE49-F238E27FC236}">
                    <a16:creationId xmlns:a16="http://schemas.microsoft.com/office/drawing/2014/main" id="{46D7F004-D5AC-4FAD-B93D-36C94318DC9C}"/>
                  </a:ext>
                </a:extLst>
              </p:cNvPr>
              <p:cNvSpPr/>
              <p:nvPr/>
            </p:nvSpPr>
            <p:spPr>
              <a:xfrm>
                <a:off x="4742449" y="2216782"/>
                <a:ext cx="3801476" cy="3801476"/>
              </a:xfrm>
              <a:prstGeom prst="roundRect">
                <a:avLst>
                  <a:gd name="adj" fmla="val 9970"/>
                </a:avLst>
              </a:prstGeom>
              <a:noFill/>
              <a:ln w="22225">
                <a:gradFill flip="none" rotWithShape="1">
                  <a:gsLst>
                    <a:gs pos="0">
                      <a:schemeClr val="bg1"/>
                    </a:gs>
                    <a:gs pos="100000">
                      <a:schemeClr val="bg1">
                        <a:lumMod val="65000"/>
                      </a:schemeClr>
                    </a:gs>
                  </a:gsLst>
                  <a:lin ang="2700000" scaled="1"/>
                  <a:tileRect/>
                </a:gra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350">
                  <a:solidFill>
                    <a:prstClr val="white"/>
                  </a:solidFill>
                </a:endParaRPr>
              </a:p>
            </p:txBody>
          </p:sp>
        </p:grp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6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1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1" dur="500" fill="hold"/>
                                        <p:tgtEl>
                                          <p:spTgt spid="3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0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4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1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42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3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4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5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6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7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8" presetID="2" presetClass="entr" presetSubtype="4" decel="4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" presetClass="entr" presetSubtype="4" decel="4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decel="4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decel="4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5" dur="500" fill="hold"/>
                                        <p:tgtEl>
                                          <p:spTgt spid="35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6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7" dur="500" fill="hold"/>
                                        <p:tgtEl>
                                          <p:spTgt spid="35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7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9" dur="500" fill="hold"/>
                                        <p:tgtEl>
                                          <p:spTgt spid="3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0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1" dur="500" fill="hold"/>
                                        <p:tgtEl>
                                          <p:spTgt spid="3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4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1"/>
          <p:cNvSpPr>
            <a:spLocks noChangeArrowheads="1"/>
          </p:cNvSpPr>
          <p:nvPr/>
        </p:nvSpPr>
        <p:spPr bwMode="auto">
          <a:xfrm>
            <a:off x="4655081" y="404858"/>
            <a:ext cx="21666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6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公司愿景</a:t>
            </a:r>
          </a:p>
        </p:txBody>
      </p:sp>
      <p:sp>
        <p:nvSpPr>
          <p:cNvPr id="10" name="TextBox 60">
            <a:extLst>
              <a:ext uri="{FF2B5EF4-FFF2-40B4-BE49-F238E27FC236}">
                <a16:creationId xmlns:a16="http://schemas.microsoft.com/office/drawing/2014/main" id="{D8A9C2E6-2A7F-795F-76E3-9D2845299B95}"/>
              </a:ext>
            </a:extLst>
          </p:cNvPr>
          <p:cNvSpPr txBox="1"/>
          <p:nvPr/>
        </p:nvSpPr>
        <p:spPr>
          <a:xfrm>
            <a:off x="625783" y="2204864"/>
            <a:ext cx="268985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zh-CN" altLang="en-US" sz="36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致力成为</a:t>
            </a:r>
            <a:r>
              <a:rPr lang="zh-CN" altLang="en-US" sz="40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：</a:t>
            </a:r>
            <a:endParaRPr lang="zh-CN" altLang="en-US" sz="4000" spc="-300" dirty="0">
              <a:solidFill>
                <a:srgbClr val="FF0000"/>
              </a:solidFill>
              <a:latin typeface="Arial" panose="020B0604020202020204" pitchFamily="34" charset="0"/>
              <a:ea typeface="微软雅黑" panose="020B0503020204020204" pitchFamily="34" charset="-122"/>
              <a:cs typeface="Aharoni" panose="02010803020104030203" pitchFamily="2" charset="-79"/>
              <a:sym typeface="+mn-lt"/>
            </a:endParaRPr>
          </a:p>
        </p:txBody>
      </p:sp>
      <p:sp>
        <p:nvSpPr>
          <p:cNvPr id="11" name="TextBox 61">
            <a:extLst>
              <a:ext uri="{FF2B5EF4-FFF2-40B4-BE49-F238E27FC236}">
                <a16:creationId xmlns:a16="http://schemas.microsoft.com/office/drawing/2014/main" id="{246C66B0-964B-BAAC-0EB1-1B29D9DF441C}"/>
              </a:ext>
            </a:extLst>
          </p:cNvPr>
          <p:cNvSpPr txBox="1"/>
          <p:nvPr/>
        </p:nvSpPr>
        <p:spPr>
          <a:xfrm>
            <a:off x="2134766" y="3329698"/>
            <a:ext cx="844582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b="1" dirty="0">
                <a:solidFill>
                  <a:srgbClr val="1194DD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全球一流的电子元器件专业服务商</a:t>
            </a:r>
            <a:endParaRPr lang="zh-CN" altLang="en-US" sz="4000" b="1" dirty="0">
              <a:solidFill>
                <a:srgbClr val="1194DD"/>
              </a:solidFill>
              <a:latin typeface="Arial" panose="020B0604020202020204" pitchFamily="34" charset="0"/>
              <a:ea typeface="微软雅黑" panose="020B0503020204020204" pitchFamily="34" charset="-122"/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59635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250" tmFilter="0,0; .5, 1; 1, 1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600"/>
                            </p:stCondLst>
                            <p:childTnLst>
                              <p:par>
                                <p:cTn id="18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250" tmFilter="0,0; .5, 1; 1, 1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  <p:bldP spid="11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1270670" y="3140968"/>
            <a:ext cx="3897694" cy="2538970"/>
            <a:chOff x="27029" y="2852936"/>
            <a:chExt cx="5841910" cy="3924460"/>
          </a:xfrm>
        </p:grpSpPr>
        <p:grpSp>
          <p:nvGrpSpPr>
            <p:cNvPr id="2" name="组合 1"/>
            <p:cNvGrpSpPr/>
            <p:nvPr/>
          </p:nvGrpSpPr>
          <p:grpSpPr>
            <a:xfrm>
              <a:off x="27029" y="2852936"/>
              <a:ext cx="5841910" cy="3924460"/>
              <a:chOff x="5378892" y="1416680"/>
              <a:chExt cx="5841910" cy="3924460"/>
            </a:xfrm>
          </p:grpSpPr>
          <p:sp>
            <p:nvSpPr>
              <p:cNvPr id="23" name="矩形 22">
                <a:hlinkClick r:id="rId3" tooltip="安升电子（深圳）有限公司"/>
              </p:cNvPr>
              <p:cNvSpPr/>
              <p:nvPr/>
            </p:nvSpPr>
            <p:spPr>
              <a:xfrm>
                <a:off x="5626296" y="1912614"/>
                <a:ext cx="5409719" cy="300213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 w="19050" cap="rnd" cmpd="sng" algn="ctr">
                <a:noFill/>
                <a:prstDash val="dashDot"/>
                <a:round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27" name="矩形: 圆角 26"/>
              <p:cNvSpPr/>
              <p:nvPr/>
            </p:nvSpPr>
            <p:spPr>
              <a:xfrm>
                <a:off x="5378892" y="1416680"/>
                <a:ext cx="5817879" cy="3924460"/>
              </a:xfrm>
              <a:prstGeom prst="roundRect">
                <a:avLst/>
              </a:prstGeom>
              <a:noFill/>
              <a:ln w="57150" cap="flat" cmpd="sng" algn="ctr">
                <a:solidFill>
                  <a:srgbClr val="1194DD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28" name="矩形 27"/>
              <p:cNvSpPr/>
              <p:nvPr/>
            </p:nvSpPr>
            <p:spPr>
              <a:xfrm>
                <a:off x="7805963" y="3040789"/>
                <a:ext cx="3414839" cy="676244"/>
              </a:xfrm>
              <a:prstGeom prst="rect">
                <a:avLst/>
              </a:prstGeom>
              <a:noFill/>
              <a:ln w="19050" cap="flat" cmpd="sng" algn="ctr">
                <a:noFill/>
                <a:prstDash val="sysDot"/>
                <a:miter lim="800000"/>
              </a:ln>
              <a:effectLst/>
            </p:spPr>
            <p:txBody>
              <a:bodyPr rtlCol="0" anchor="ctr"/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29" name="Rectangle 7"/>
            <p:cNvSpPr/>
            <p:nvPr/>
          </p:nvSpPr>
          <p:spPr bwMode="auto">
            <a:xfrm>
              <a:off x="2698918" y="4666891"/>
              <a:ext cx="2074098" cy="676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 anchor="ctr" anchorCtr="0"/>
            <a:lstStyle/>
            <a:p>
              <a:pPr fontAlgn="base">
                <a:lnSpc>
                  <a:spcPts val="16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深圳总部</a:t>
              </a:r>
              <a:endParaRPr lang="zh-CN" altLang="en-US" sz="1400" spc="75" dirty="0">
                <a:latin typeface="Arial" panose="020B0604020202020204" pitchFamily="34" charset="0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  <p:pic>
        <p:nvPicPr>
          <p:cNvPr id="3" name="图片 2"/>
          <p:cNvPicPr>
            <a:picLocks noChangeAspect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64534" y="1584708"/>
            <a:ext cx="1351743" cy="1351743"/>
          </a:xfrm>
          <a:prstGeom prst="rect">
            <a:avLst/>
          </a:prstGeom>
        </p:spPr>
      </p:pic>
      <p:sp>
        <p:nvSpPr>
          <p:cNvPr id="12" name="文本框 1"/>
          <p:cNvSpPr>
            <a:spLocks noChangeArrowheads="1"/>
          </p:cNvSpPr>
          <p:nvPr/>
        </p:nvSpPr>
        <p:spPr bwMode="auto">
          <a:xfrm>
            <a:off x="4726836" y="404858"/>
            <a:ext cx="21666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6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联系我们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6167214" y="2260113"/>
            <a:ext cx="496855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b="1" i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</a:rPr>
              <a:t>安升电子（深圳）有限公司 （总部）</a:t>
            </a:r>
            <a:endParaRPr lang="zh-CN" altLang="en-US" b="0" i="0" dirty="0">
              <a:solidFill>
                <a:srgbClr val="656464"/>
              </a:solidFill>
              <a:effectLst/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algn="l"/>
            <a:r>
              <a:rPr lang="zh-CN" alt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</a:rPr>
              <a:t>地  址：深圳市宝安区石岩塘头一号路创维创新谷</a:t>
            </a:r>
            <a:r>
              <a:rPr lang="en-US" altLang="zh-CN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</a:rPr>
              <a:t>5D</a:t>
            </a:r>
            <a:r>
              <a:rPr lang="zh-CN" alt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</a:rPr>
              <a:t>栋</a:t>
            </a:r>
            <a:r>
              <a:rPr lang="en-US" altLang="zh-CN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</a:rPr>
              <a:t>7</a:t>
            </a:r>
            <a:r>
              <a:rPr lang="zh-CN" alt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</a:rPr>
              <a:t>楼</a:t>
            </a:r>
            <a:endParaRPr lang="zh-CN" altLang="en-US" sz="1200" b="0" i="0" dirty="0">
              <a:solidFill>
                <a:srgbClr val="656464"/>
              </a:solidFill>
              <a:effectLst/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algn="l"/>
            <a:r>
              <a:rPr lang="zh-CN" alt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</a:rPr>
              <a:t>电  话：</a:t>
            </a:r>
            <a:r>
              <a:rPr lang="en-US" altLang="zh-CN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</a:rPr>
              <a:t>0086-755- 27200701  27200801</a:t>
            </a:r>
            <a:endParaRPr lang="zh-CN" altLang="en-US" sz="1200" b="0" i="0" dirty="0">
              <a:solidFill>
                <a:srgbClr val="656464"/>
              </a:solidFill>
              <a:effectLst/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algn="l"/>
            <a:r>
              <a:rPr lang="zh-CN" alt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</a:rPr>
              <a:t>传  真：</a:t>
            </a:r>
            <a:r>
              <a:rPr lang="en-US" altLang="zh-CN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</a:rPr>
              <a:t>0086-755-27200706</a:t>
            </a:r>
            <a:endParaRPr lang="zh-CN" altLang="en-US" sz="1200" b="0" i="0" dirty="0">
              <a:solidFill>
                <a:srgbClr val="656464"/>
              </a:solidFill>
              <a:effectLst/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algn="l"/>
            <a:r>
              <a:rPr lang="zh-CN" alt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</a:rPr>
              <a:t>网  址：</a:t>
            </a:r>
            <a:r>
              <a:rPr lang="en-US" altLang="zh-CN" sz="1200" b="0" i="0" u="none" strike="noStrike" dirty="0">
                <a:effectLst/>
                <a:latin typeface="Arial" panose="020B0604020202020204" pitchFamily="34" charset="0"/>
                <a:ea typeface="微软雅黑" panose="020B0503020204020204" pitchFamily="34" charset="-122"/>
                <a:hlinkClick r:id="rId3"/>
              </a:rPr>
              <a:t>www.ansonsz.com</a:t>
            </a:r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167214" y="3312357"/>
            <a:ext cx="527511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b="1" i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</a:rPr>
              <a:t>成都吉朗科技有限公司 （成都分公司）</a:t>
            </a:r>
            <a:endParaRPr lang="zh-CN" altLang="en-US" b="0" i="0" dirty="0">
              <a:solidFill>
                <a:srgbClr val="656464"/>
              </a:solidFill>
              <a:effectLst/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地  址：成都市天府新区天府大道南段</a:t>
            </a:r>
            <a:r>
              <a:rPr lang="en-US" altLang="zh-CN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2917</a:t>
            </a:r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号御香山写字楼</a:t>
            </a:r>
            <a:r>
              <a:rPr lang="en-US" altLang="zh-CN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67</a:t>
            </a:r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栋</a:t>
            </a:r>
            <a:r>
              <a:rPr lang="en-US" altLang="zh-CN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C</a:t>
            </a:r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座</a:t>
            </a:r>
            <a:r>
              <a:rPr lang="en-US" altLang="zh-CN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701</a:t>
            </a:r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电  话：</a:t>
            </a:r>
            <a:r>
              <a:rPr lang="en-US" altLang="zh-CN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0086-28-81458653  </a:t>
            </a:r>
            <a:endParaRPr lang="zh-CN" altLang="en-US" sz="1200" dirty="0">
              <a:solidFill>
                <a:srgbClr val="000000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algn="l"/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传  真：</a:t>
            </a:r>
            <a:r>
              <a:rPr lang="en-US" altLang="zh-CN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0086-28-86787632</a:t>
            </a:r>
            <a:endParaRPr lang="zh-CN" altLang="en-US" sz="1200" dirty="0">
              <a:solidFill>
                <a:srgbClr val="000000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algn="l"/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网  址：</a:t>
            </a:r>
            <a:r>
              <a:rPr lang="en-US" altLang="zh-CN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hlinkClick r:id="rId6"/>
              </a:rPr>
              <a:t>www.jilongtec.com</a:t>
            </a:r>
            <a:endParaRPr lang="zh-CN" altLang="en-US" sz="1200" dirty="0">
              <a:solidFill>
                <a:srgbClr val="000000"/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72AAE302-6DBF-F854-5B18-3B8079C592B6}"/>
              </a:ext>
            </a:extLst>
          </p:cNvPr>
          <p:cNvSpPr txBox="1"/>
          <p:nvPr/>
        </p:nvSpPr>
        <p:spPr>
          <a:xfrm>
            <a:off x="6167214" y="4392477"/>
            <a:ext cx="527511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b="1" i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</a:rPr>
              <a:t>华东办事处</a:t>
            </a:r>
            <a:endParaRPr lang="en-US" altLang="zh-CN" b="1" i="0" dirty="0">
              <a:solidFill>
                <a:srgbClr val="000000"/>
              </a:solidFill>
              <a:effectLst/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地  址：苏州市吴中区城南街道吴中银座</a:t>
            </a:r>
            <a:r>
              <a:rPr lang="en-US" altLang="zh-CN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A</a:t>
            </a:r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座</a:t>
            </a:r>
            <a:r>
              <a:rPr lang="en-US" altLang="zh-CN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2208</a:t>
            </a:r>
          </a:p>
          <a:p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电  话：</a:t>
            </a:r>
            <a:r>
              <a:rPr lang="en-US" altLang="zh-CN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185 8902 2956 </a:t>
            </a:r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宾先生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3617FCD-1D96-F622-37FC-B31A3C5ED1BB}"/>
              </a:ext>
            </a:extLst>
          </p:cNvPr>
          <p:cNvSpPr txBox="1"/>
          <p:nvPr/>
        </p:nvSpPr>
        <p:spPr>
          <a:xfrm>
            <a:off x="6151181" y="5075389"/>
            <a:ext cx="527511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zh-CN" altLang="en-US" b="1" i="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微软雅黑" panose="020B0503020204020204" pitchFamily="34" charset="-122"/>
              </a:rPr>
              <a:t>华北办事处</a:t>
            </a:r>
            <a:endParaRPr lang="en-US" altLang="zh-CN" b="1" i="0" dirty="0">
              <a:solidFill>
                <a:srgbClr val="000000"/>
              </a:solidFill>
              <a:effectLst/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地  址：天津市河东区大王庄街道七纬路</a:t>
            </a:r>
            <a:r>
              <a:rPr lang="en-US" altLang="zh-CN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85</a:t>
            </a:r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号</a:t>
            </a:r>
            <a:r>
              <a:rPr lang="en-US" altLang="zh-CN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(</a:t>
            </a:r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天津数字经济创新基地</a:t>
            </a:r>
            <a:r>
              <a:rPr lang="en-US" altLang="zh-CN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)</a:t>
            </a:r>
          </a:p>
          <a:p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电  话：</a:t>
            </a:r>
            <a:r>
              <a:rPr lang="en-US" altLang="zh-CN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189 2347 1986  </a:t>
            </a:r>
            <a:r>
              <a:rPr lang="zh-CN" altLang="en-US" sz="12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陈先生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225" decel="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500"/>
                            </p:stCondLst>
                            <p:childTnLst>
                              <p:par>
                                <p:cTn id="28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25" decel="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750"/>
                            </p:stCondLst>
                            <p:childTnLst>
                              <p:par>
                                <p:cTn id="3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25" decel="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225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25" accel="100000" fill="hold">
                                          <p:stCondLst>
                                            <p:cond delay="225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5" grpId="0"/>
      <p:bldP spid="15" grpId="0"/>
      <p:bldP spid="6" grpId="0"/>
      <p:bldP spid="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图片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622" y="105270"/>
            <a:ext cx="654123" cy="731927"/>
          </a:xfrm>
          <a:prstGeom prst="rect">
            <a:avLst/>
          </a:prstGeom>
        </p:spPr>
      </p:pic>
      <p:grpSp>
        <p:nvGrpSpPr>
          <p:cNvPr id="2" name="组合 1">
            <a:extLst>
              <a:ext uri="{FF2B5EF4-FFF2-40B4-BE49-F238E27FC236}">
                <a16:creationId xmlns:a16="http://schemas.microsoft.com/office/drawing/2014/main" id="{231F44A8-70EB-3924-8A91-3BF390E95886}"/>
              </a:ext>
            </a:extLst>
          </p:cNvPr>
          <p:cNvGrpSpPr/>
          <p:nvPr/>
        </p:nvGrpSpPr>
        <p:grpSpPr>
          <a:xfrm>
            <a:off x="1054646" y="689385"/>
            <a:ext cx="10167311" cy="5547927"/>
            <a:chOff x="979945" y="735291"/>
            <a:chExt cx="10168635" cy="5548650"/>
          </a:xfrm>
        </p:grpSpPr>
        <p:grpSp>
          <p:nvGrpSpPr>
            <p:cNvPr id="4" name="组合 3">
              <a:extLst>
                <a:ext uri="{FF2B5EF4-FFF2-40B4-BE49-F238E27FC236}">
                  <a16:creationId xmlns:a16="http://schemas.microsoft.com/office/drawing/2014/main" id="{D9C5FF22-553D-EEAC-592C-46519C13F947}"/>
                </a:ext>
              </a:extLst>
            </p:cNvPr>
            <p:cNvGrpSpPr/>
            <p:nvPr/>
          </p:nvGrpSpPr>
          <p:grpSpPr>
            <a:xfrm>
              <a:off x="979945" y="1941907"/>
              <a:ext cx="3359228" cy="3370426"/>
              <a:chOff x="660400" y="2098040"/>
              <a:chExt cx="3048000" cy="3058160"/>
            </a:xfrm>
          </p:grpSpPr>
          <p:sp>
            <p:nvSpPr>
              <p:cNvPr id="26" name="椭圆 25">
                <a:extLst>
                  <a:ext uri="{FF2B5EF4-FFF2-40B4-BE49-F238E27FC236}">
                    <a16:creationId xmlns:a16="http://schemas.microsoft.com/office/drawing/2014/main" id="{A4229538-DBD2-68B3-14E7-B2E2AAB46893}"/>
                  </a:ext>
                </a:extLst>
              </p:cNvPr>
              <p:cNvSpPr/>
              <p:nvPr/>
            </p:nvSpPr>
            <p:spPr>
              <a:xfrm>
                <a:off x="660400" y="2108200"/>
                <a:ext cx="3048000" cy="3048000"/>
              </a:xfrm>
              <a:prstGeom prst="ellipse">
                <a:avLst/>
              </a:prstGeom>
              <a:solidFill>
                <a:srgbClr val="1194DD"/>
              </a:solidFill>
              <a:ln w="12700" cap="flat">
                <a:noFill/>
                <a:prstDash val="solid"/>
                <a:miter/>
              </a:ln>
              <a:effectLst>
                <a:outerShdw blurRad="127000" dist="63500" dir="2700000" algn="tl" rotWithShape="0">
                  <a:schemeClr val="accent1">
                    <a:alpha val="40000"/>
                  </a:schemeClr>
                </a:outerShdw>
              </a:effectLst>
            </p:spPr>
            <p:txBody>
              <a:bodyPr rtlCol="0" anchor="ctr"/>
              <a:lstStyle/>
              <a:p>
                <a:pPr algn="ctr">
                  <a:buSzPct val="25000"/>
                </a:pPr>
                <a:r>
                  <a:rPr lang="zh-CN" altLang="en-US" sz="4000" b="1" dirty="0">
                    <a:solidFill>
                      <a:schemeClr val="bg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公司概况</a:t>
                </a:r>
                <a:endParaRPr lang="en-US" altLang="zh-CN" sz="40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  <p:sp>
            <p:nvSpPr>
              <p:cNvPr id="33" name="椭圆 32">
                <a:extLst>
                  <a:ext uri="{FF2B5EF4-FFF2-40B4-BE49-F238E27FC236}">
                    <a16:creationId xmlns:a16="http://schemas.microsoft.com/office/drawing/2014/main" id="{9A008AA6-5BDF-421F-CB67-06EC055AF1AF}"/>
                  </a:ext>
                </a:extLst>
              </p:cNvPr>
              <p:cNvSpPr/>
              <p:nvPr/>
            </p:nvSpPr>
            <p:spPr>
              <a:xfrm flipV="1">
                <a:off x="1209040" y="4795520"/>
                <a:ext cx="314960" cy="314960"/>
              </a:xfrm>
              <a:prstGeom prst="ellipse">
                <a:avLst/>
              </a:prstGeom>
              <a:solidFill>
                <a:srgbClr val="FEF9F8"/>
              </a:solidFill>
              <a:ln w="12700" cap="flat">
                <a:noFill/>
                <a:prstDash val="solid"/>
                <a:miter/>
              </a:ln>
              <a:effectLst>
                <a:outerShdw blurRad="127000" dist="63500" dir="2700000" algn="tl" rotWithShape="0">
                  <a:schemeClr val="accent1">
                    <a:alpha val="40000"/>
                  </a:schemeClr>
                </a:outerShdw>
              </a:effectLst>
            </p:spPr>
            <p:txBody>
              <a:bodyPr rtlCol="0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34" name="椭圆 33">
                <a:extLst>
                  <a:ext uri="{FF2B5EF4-FFF2-40B4-BE49-F238E27FC236}">
                    <a16:creationId xmlns:a16="http://schemas.microsoft.com/office/drawing/2014/main" id="{24419384-F4A1-A171-B1DD-A58A704E8E10}"/>
                  </a:ext>
                </a:extLst>
              </p:cNvPr>
              <p:cNvSpPr/>
              <p:nvPr/>
            </p:nvSpPr>
            <p:spPr>
              <a:xfrm flipV="1">
                <a:off x="2740660" y="2098040"/>
                <a:ext cx="513080" cy="513080"/>
              </a:xfrm>
              <a:prstGeom prst="ellipse">
                <a:avLst/>
              </a:prstGeom>
              <a:solidFill>
                <a:schemeClr val="accent6">
                  <a:lumMod val="75000"/>
                </a:schemeClr>
              </a:solidFill>
              <a:ln w="12700" cap="flat">
                <a:noFill/>
                <a:prstDash val="solid"/>
                <a:miter/>
              </a:ln>
              <a:effectLst>
                <a:outerShdw blurRad="127000" dist="63500" dir="2700000" algn="tl" rotWithShape="0">
                  <a:schemeClr val="accent2">
                    <a:lumMod val="75000"/>
                    <a:alpha val="40000"/>
                  </a:schemeClr>
                </a:outerShdw>
              </a:effectLst>
            </p:spPr>
            <p:txBody>
              <a:bodyPr rtlCol="0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1181F6FA-450D-2E12-50D6-FA36E0A3B6C1}"/>
                </a:ext>
              </a:extLst>
            </p:cNvPr>
            <p:cNvGrpSpPr/>
            <p:nvPr/>
          </p:nvGrpSpPr>
          <p:grpSpPr>
            <a:xfrm>
              <a:off x="4855109" y="735291"/>
              <a:ext cx="6293471" cy="3067710"/>
              <a:chOff x="5225429" y="505240"/>
              <a:chExt cx="6293471" cy="3067710"/>
            </a:xfrm>
          </p:grpSpPr>
          <p:sp>
            <p:nvSpPr>
              <p:cNvPr id="19" name="矩形: 圆角 18">
                <a:extLst>
                  <a:ext uri="{FF2B5EF4-FFF2-40B4-BE49-F238E27FC236}">
                    <a16:creationId xmlns:a16="http://schemas.microsoft.com/office/drawing/2014/main" id="{D25E6B71-AEEC-7E5F-DFBC-1BB3F75D2CC6}"/>
                  </a:ext>
                </a:extLst>
              </p:cNvPr>
              <p:cNvSpPr/>
              <p:nvPr/>
            </p:nvSpPr>
            <p:spPr>
              <a:xfrm>
                <a:off x="5508625" y="505240"/>
                <a:ext cx="6010275" cy="3067710"/>
              </a:xfrm>
              <a:prstGeom prst="roundRect">
                <a:avLst>
                  <a:gd name="adj" fmla="val 8800"/>
                </a:avLst>
              </a:prstGeom>
              <a:solidFill>
                <a:schemeClr val="accent1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65779" tIns="251967" rIns="235409" bIns="45714" rtlCol="0" anchor="t" anchorCtr="0"/>
              <a:lstStyle/>
              <a:p>
                <a:pPr algn="just">
                  <a:lnSpc>
                    <a:spcPct val="150000"/>
                  </a:lnSpc>
                </a:pPr>
                <a:r>
                  <a:rPr lang="zh-CN" altLang="en-US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安升电子（深圳）有限公司自</a:t>
                </a:r>
                <a:r>
                  <a:rPr lang="en-US" altLang="zh-CN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2005</a:t>
                </a:r>
                <a:r>
                  <a:rPr lang="zh-CN" altLang="en-US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年开始专业从事电子元器件代理配套和提供技术支持等服务，在这一领域深耕了</a:t>
                </a:r>
                <a:r>
                  <a:rPr lang="en-US" altLang="zh-CN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</a:rPr>
                  <a:t>19</a:t>
                </a:r>
                <a:r>
                  <a:rPr lang="zh-CN" altLang="en-US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年，主营产品有电容、电阻、电感、二三极管、</a:t>
                </a:r>
                <a:r>
                  <a:rPr lang="en-US" altLang="zh-CN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MOS</a:t>
                </a:r>
                <a:r>
                  <a:rPr lang="zh-CN" altLang="en-US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、</a:t>
                </a:r>
                <a:r>
                  <a:rPr lang="en-US" altLang="zh-CN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IC</a:t>
                </a:r>
                <a:r>
                  <a:rPr lang="zh-CN" altLang="en-US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、保护器件、晶振、连接器等；客户遍布全球，在通讯、汽车电子、工控、仪器仪表、医疗等各领域与客户紧密合作。</a:t>
                </a:r>
                <a:endParaRPr lang="en-US" altLang="zh-CN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ea"/>
                  <a:sym typeface="+mn-lt"/>
                </a:endParaRPr>
              </a:p>
            </p:txBody>
          </p:sp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DFAC9086-AB77-F9ED-7493-07206B007BBA}"/>
                  </a:ext>
                </a:extLst>
              </p:cNvPr>
              <p:cNvGrpSpPr/>
              <p:nvPr/>
            </p:nvGrpSpPr>
            <p:grpSpPr>
              <a:xfrm>
                <a:off x="5225429" y="1738830"/>
                <a:ext cx="540000" cy="540000"/>
                <a:chOff x="2818979" y="5416013"/>
                <a:chExt cx="540000" cy="540000"/>
              </a:xfrm>
            </p:grpSpPr>
            <p:sp>
              <p:nvSpPr>
                <p:cNvPr id="24" name="文本框 23">
                  <a:extLst>
                    <a:ext uri="{FF2B5EF4-FFF2-40B4-BE49-F238E27FC236}">
                      <a16:creationId xmlns:a16="http://schemas.microsoft.com/office/drawing/2014/main" id="{63E4449B-B0EF-1483-95D6-D73C9C1B3DEB}"/>
                    </a:ext>
                  </a:extLst>
                </p:cNvPr>
                <p:cNvSpPr txBox="1"/>
                <p:nvPr/>
              </p:nvSpPr>
              <p:spPr>
                <a:xfrm>
                  <a:off x="2818979" y="5416013"/>
                  <a:ext cx="540000" cy="54000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1"/>
                </a:solidFill>
                <a:ln w="12700" cap="flat">
                  <a:noFill/>
                  <a:prstDash val="solid"/>
                  <a:miter/>
                </a:ln>
                <a:effectLst>
                  <a:outerShdw blurRad="127000" dist="63500" dir="2700000" algn="tl" rotWithShape="0">
                    <a:schemeClr val="accent1">
                      <a:alpha val="40000"/>
                    </a:schemeClr>
                  </a:outerShdw>
                </a:effectLst>
              </p:spPr>
              <p:txBody>
                <a:bodyPr rtlCol="0" anchor="ctr"/>
                <a:lstStyle>
                  <a:defPPr>
                    <a:defRPr lang="zh-CN"/>
                  </a:defPPr>
                  <a:lvl1pPr>
                    <a:defRPr/>
                  </a:lvl1pPr>
                </a:lstStyle>
                <a:p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5" name="任意多边形: 形状 24">
                  <a:extLst>
                    <a:ext uri="{FF2B5EF4-FFF2-40B4-BE49-F238E27FC236}">
                      <a16:creationId xmlns:a16="http://schemas.microsoft.com/office/drawing/2014/main" id="{281014FB-3951-775A-12CE-3F7B616168A6}"/>
                    </a:ext>
                  </a:extLst>
                </p:cNvPr>
                <p:cNvSpPr/>
                <p:nvPr/>
              </p:nvSpPr>
              <p:spPr>
                <a:xfrm>
                  <a:off x="2975866" y="5548309"/>
                  <a:ext cx="226228" cy="275406"/>
                </a:xfrm>
                <a:custGeom>
                  <a:avLst/>
                  <a:gdLst>
                    <a:gd name="connsiteX0" fmla="*/ 284197 w 438150"/>
                    <a:gd name="connsiteY0" fmla="*/ 621 h 533400"/>
                    <a:gd name="connsiteX1" fmla="*/ 286102 w 438150"/>
                    <a:gd name="connsiteY1" fmla="*/ 621 h 533400"/>
                    <a:gd name="connsiteX2" fmla="*/ 286102 w 438150"/>
                    <a:gd name="connsiteY2" fmla="*/ 124446 h 533400"/>
                    <a:gd name="connsiteX3" fmla="*/ 286102 w 438150"/>
                    <a:gd name="connsiteY3" fmla="*/ 126351 h 533400"/>
                    <a:gd name="connsiteX4" fmla="*/ 314677 w 438150"/>
                    <a:gd name="connsiteY4" fmla="*/ 153021 h 533400"/>
                    <a:gd name="connsiteX5" fmla="*/ 314677 w 438150"/>
                    <a:gd name="connsiteY5" fmla="*/ 153021 h 533400"/>
                    <a:gd name="connsiteX6" fmla="*/ 438502 w 438150"/>
                    <a:gd name="connsiteY6" fmla="*/ 153021 h 533400"/>
                    <a:gd name="connsiteX7" fmla="*/ 438502 w 438150"/>
                    <a:gd name="connsiteY7" fmla="*/ 154926 h 533400"/>
                    <a:gd name="connsiteX8" fmla="*/ 438502 w 438150"/>
                    <a:gd name="connsiteY8" fmla="*/ 505446 h 533400"/>
                    <a:gd name="connsiteX9" fmla="*/ 409927 w 438150"/>
                    <a:gd name="connsiteY9" fmla="*/ 534021 h 533400"/>
                    <a:gd name="connsiteX10" fmla="*/ 28927 w 438150"/>
                    <a:gd name="connsiteY10" fmla="*/ 534021 h 533400"/>
                    <a:gd name="connsiteX11" fmla="*/ 352 w 438150"/>
                    <a:gd name="connsiteY11" fmla="*/ 505446 h 533400"/>
                    <a:gd name="connsiteX12" fmla="*/ 352 w 438150"/>
                    <a:gd name="connsiteY12" fmla="*/ 29196 h 533400"/>
                    <a:gd name="connsiteX13" fmla="*/ 28927 w 438150"/>
                    <a:gd name="connsiteY13" fmla="*/ 621 h 533400"/>
                    <a:gd name="connsiteX14" fmla="*/ 284197 w 438150"/>
                    <a:gd name="connsiteY14" fmla="*/ 621 h 533400"/>
                    <a:gd name="connsiteX15" fmla="*/ 248002 w 438150"/>
                    <a:gd name="connsiteY15" fmla="*/ 200646 h 533400"/>
                    <a:gd name="connsiteX16" fmla="*/ 152752 w 438150"/>
                    <a:gd name="connsiteY16" fmla="*/ 200646 h 533400"/>
                    <a:gd name="connsiteX17" fmla="*/ 152752 w 438150"/>
                    <a:gd name="connsiteY17" fmla="*/ 410196 h 533400"/>
                    <a:gd name="connsiteX18" fmla="*/ 171802 w 438150"/>
                    <a:gd name="connsiteY18" fmla="*/ 410196 h 533400"/>
                    <a:gd name="connsiteX19" fmla="*/ 171802 w 438150"/>
                    <a:gd name="connsiteY19" fmla="*/ 314946 h 533400"/>
                    <a:gd name="connsiteX20" fmla="*/ 248002 w 438150"/>
                    <a:gd name="connsiteY20" fmla="*/ 314946 h 533400"/>
                    <a:gd name="connsiteX21" fmla="*/ 249907 w 438150"/>
                    <a:gd name="connsiteY21" fmla="*/ 314946 h 533400"/>
                    <a:gd name="connsiteX22" fmla="*/ 305152 w 438150"/>
                    <a:gd name="connsiteY22" fmla="*/ 257796 h 533400"/>
                    <a:gd name="connsiteX23" fmla="*/ 248002 w 438150"/>
                    <a:gd name="connsiteY23" fmla="*/ 200646 h 533400"/>
                    <a:gd name="connsiteX24" fmla="*/ 248002 w 438150"/>
                    <a:gd name="connsiteY24" fmla="*/ 200646 h 533400"/>
                    <a:gd name="connsiteX25" fmla="*/ 248002 w 438150"/>
                    <a:gd name="connsiteY25" fmla="*/ 219696 h 533400"/>
                    <a:gd name="connsiteX26" fmla="*/ 286102 w 438150"/>
                    <a:gd name="connsiteY26" fmla="*/ 257796 h 533400"/>
                    <a:gd name="connsiteX27" fmla="*/ 248002 w 438150"/>
                    <a:gd name="connsiteY27" fmla="*/ 295896 h 533400"/>
                    <a:gd name="connsiteX28" fmla="*/ 248002 w 438150"/>
                    <a:gd name="connsiteY28" fmla="*/ 295896 h 533400"/>
                    <a:gd name="connsiteX29" fmla="*/ 171802 w 438150"/>
                    <a:gd name="connsiteY29" fmla="*/ 295896 h 533400"/>
                    <a:gd name="connsiteX30" fmla="*/ 171802 w 438150"/>
                    <a:gd name="connsiteY30" fmla="*/ 219696 h 533400"/>
                    <a:gd name="connsiteX31" fmla="*/ 248002 w 438150"/>
                    <a:gd name="connsiteY31" fmla="*/ 219696 h 533400"/>
                    <a:gd name="connsiteX32" fmla="*/ 428977 w 438150"/>
                    <a:gd name="connsiteY32" fmla="*/ 133971 h 533400"/>
                    <a:gd name="connsiteX33" fmla="*/ 314677 w 438150"/>
                    <a:gd name="connsiteY33" fmla="*/ 133971 h 533400"/>
                    <a:gd name="connsiteX34" fmla="*/ 313724 w 438150"/>
                    <a:gd name="connsiteY34" fmla="*/ 133971 h 533400"/>
                    <a:gd name="connsiteX35" fmla="*/ 305152 w 438150"/>
                    <a:gd name="connsiteY35" fmla="*/ 124446 h 533400"/>
                    <a:gd name="connsiteX36" fmla="*/ 305152 w 438150"/>
                    <a:gd name="connsiteY36" fmla="*/ 124446 h 533400"/>
                    <a:gd name="connsiteX37" fmla="*/ 305152 w 438150"/>
                    <a:gd name="connsiteY37" fmla="*/ 10146 h 533400"/>
                    <a:gd name="connsiteX38" fmla="*/ 428977 w 438150"/>
                    <a:gd name="connsiteY38" fmla="*/ 133971 h 5334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438150" h="533400">
                      <a:moveTo>
                        <a:pt x="284197" y="621"/>
                      </a:moveTo>
                      <a:cubicBezTo>
                        <a:pt x="285149" y="621"/>
                        <a:pt x="286102" y="621"/>
                        <a:pt x="286102" y="621"/>
                      </a:cubicBezTo>
                      <a:lnTo>
                        <a:pt x="286102" y="124446"/>
                      </a:lnTo>
                      <a:lnTo>
                        <a:pt x="286102" y="126351"/>
                      </a:lnTo>
                      <a:cubicBezTo>
                        <a:pt x="287055" y="141591"/>
                        <a:pt x="299437" y="153021"/>
                        <a:pt x="314677" y="153021"/>
                      </a:cubicBezTo>
                      <a:lnTo>
                        <a:pt x="314677" y="153021"/>
                      </a:lnTo>
                      <a:lnTo>
                        <a:pt x="438502" y="153021"/>
                      </a:lnTo>
                      <a:cubicBezTo>
                        <a:pt x="438502" y="153974"/>
                        <a:pt x="438502" y="154926"/>
                        <a:pt x="438502" y="154926"/>
                      </a:cubicBezTo>
                      <a:lnTo>
                        <a:pt x="438502" y="505446"/>
                      </a:lnTo>
                      <a:cubicBezTo>
                        <a:pt x="438502" y="521639"/>
                        <a:pt x="426120" y="534021"/>
                        <a:pt x="409927" y="534021"/>
                      </a:cubicBezTo>
                      <a:lnTo>
                        <a:pt x="28927" y="534021"/>
                      </a:lnTo>
                      <a:cubicBezTo>
                        <a:pt x="12734" y="534021"/>
                        <a:pt x="352" y="521639"/>
                        <a:pt x="352" y="505446"/>
                      </a:cubicBezTo>
                      <a:lnTo>
                        <a:pt x="352" y="29196"/>
                      </a:lnTo>
                      <a:cubicBezTo>
                        <a:pt x="352" y="13004"/>
                        <a:pt x="12734" y="621"/>
                        <a:pt x="28927" y="621"/>
                      </a:cubicBezTo>
                      <a:lnTo>
                        <a:pt x="284197" y="621"/>
                      </a:lnTo>
                      <a:close/>
                      <a:moveTo>
                        <a:pt x="248002" y="200646"/>
                      </a:moveTo>
                      <a:lnTo>
                        <a:pt x="152752" y="200646"/>
                      </a:lnTo>
                      <a:lnTo>
                        <a:pt x="152752" y="410196"/>
                      </a:lnTo>
                      <a:lnTo>
                        <a:pt x="171802" y="410196"/>
                      </a:lnTo>
                      <a:lnTo>
                        <a:pt x="171802" y="314946"/>
                      </a:lnTo>
                      <a:lnTo>
                        <a:pt x="248002" y="314946"/>
                      </a:lnTo>
                      <a:lnTo>
                        <a:pt x="249907" y="314946"/>
                      </a:lnTo>
                      <a:cubicBezTo>
                        <a:pt x="280387" y="313994"/>
                        <a:pt x="305152" y="288276"/>
                        <a:pt x="305152" y="257796"/>
                      </a:cubicBezTo>
                      <a:cubicBezTo>
                        <a:pt x="305152" y="226364"/>
                        <a:pt x="279434" y="200646"/>
                        <a:pt x="248002" y="200646"/>
                      </a:cubicBezTo>
                      <a:lnTo>
                        <a:pt x="248002" y="200646"/>
                      </a:lnTo>
                      <a:close/>
                      <a:moveTo>
                        <a:pt x="248002" y="219696"/>
                      </a:moveTo>
                      <a:cubicBezTo>
                        <a:pt x="268957" y="219696"/>
                        <a:pt x="286102" y="236841"/>
                        <a:pt x="286102" y="257796"/>
                      </a:cubicBezTo>
                      <a:cubicBezTo>
                        <a:pt x="286102" y="278751"/>
                        <a:pt x="268957" y="295896"/>
                        <a:pt x="248002" y="295896"/>
                      </a:cubicBezTo>
                      <a:lnTo>
                        <a:pt x="248002" y="295896"/>
                      </a:lnTo>
                      <a:lnTo>
                        <a:pt x="171802" y="295896"/>
                      </a:lnTo>
                      <a:lnTo>
                        <a:pt x="171802" y="219696"/>
                      </a:lnTo>
                      <a:lnTo>
                        <a:pt x="248002" y="219696"/>
                      </a:lnTo>
                      <a:close/>
                      <a:moveTo>
                        <a:pt x="428977" y="133971"/>
                      </a:moveTo>
                      <a:lnTo>
                        <a:pt x="314677" y="133971"/>
                      </a:lnTo>
                      <a:lnTo>
                        <a:pt x="313724" y="133971"/>
                      </a:lnTo>
                      <a:cubicBezTo>
                        <a:pt x="308962" y="133019"/>
                        <a:pt x="305152" y="129209"/>
                        <a:pt x="305152" y="124446"/>
                      </a:cubicBezTo>
                      <a:lnTo>
                        <a:pt x="305152" y="124446"/>
                      </a:lnTo>
                      <a:lnTo>
                        <a:pt x="305152" y="10146"/>
                      </a:lnTo>
                      <a:lnTo>
                        <a:pt x="428977" y="13397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6E6B5AAA-C37A-C809-BBB4-18DB9A5D7081}"/>
                  </a:ext>
                </a:extLst>
              </p:cNvPr>
              <p:cNvSpPr/>
              <p:nvPr/>
            </p:nvSpPr>
            <p:spPr>
              <a:xfrm>
                <a:off x="5948889" y="1373302"/>
                <a:ext cx="3169711" cy="33855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28" tIns="45714" rIns="91428" bIns="45714" rtlCol="0" anchor="t" anchorCtr="0">
                <a:spAutoFit/>
              </a:bodyPr>
              <a:lstStyle/>
              <a:p>
                <a:endParaRPr kumimoji="1" lang="en-US" altLang="zh-CN" sz="1600" b="1" dirty="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ea"/>
                  <a:sym typeface="+mn-lt"/>
                </a:endParaRPr>
              </a:p>
            </p:txBody>
          </p:sp>
        </p:grpSp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4EF540A1-9ED2-1E62-1431-DE0F4E0024D8}"/>
                </a:ext>
              </a:extLst>
            </p:cNvPr>
            <p:cNvGrpSpPr/>
            <p:nvPr/>
          </p:nvGrpSpPr>
          <p:grpSpPr>
            <a:xfrm>
              <a:off x="4854359" y="4022847"/>
              <a:ext cx="6281025" cy="2261094"/>
              <a:chOff x="5224679" y="4022847"/>
              <a:chExt cx="6281025" cy="2261094"/>
            </a:xfrm>
          </p:grpSpPr>
          <p:sp>
            <p:nvSpPr>
              <p:cNvPr id="7" name="矩形: 圆角 6">
                <a:extLst>
                  <a:ext uri="{FF2B5EF4-FFF2-40B4-BE49-F238E27FC236}">
                    <a16:creationId xmlns:a16="http://schemas.microsoft.com/office/drawing/2014/main" id="{9A42084A-4FDD-1CC0-89FA-CA8D44E3FFF1}"/>
                  </a:ext>
                </a:extLst>
              </p:cNvPr>
              <p:cNvSpPr/>
              <p:nvPr/>
            </p:nvSpPr>
            <p:spPr>
              <a:xfrm>
                <a:off x="5495429" y="4022847"/>
                <a:ext cx="6010275" cy="2261094"/>
              </a:xfrm>
              <a:prstGeom prst="roundRect">
                <a:avLst>
                  <a:gd name="adj" fmla="val 8800"/>
                </a:avLst>
              </a:prstGeom>
              <a:solidFill>
                <a:schemeClr val="accent2"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64340" tIns="251967" rIns="233970" bIns="45714" rtlCol="0" anchor="t" anchorCtr="0"/>
              <a:lstStyle/>
              <a:p>
                <a:pPr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70C0"/>
                  </a:buClr>
                  <a:defRPr/>
                </a:pPr>
                <a:r>
                  <a:rPr lang="zh-CN" altLang="en-US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成立时间</a:t>
                </a:r>
                <a:r>
                  <a:rPr lang="zh-TW" altLang="en-US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：</a:t>
                </a:r>
                <a:r>
                  <a:rPr lang="en-US" altLang="zh-CN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2005</a:t>
                </a:r>
                <a:r>
                  <a:rPr lang="zh-CN" altLang="en-US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年</a:t>
                </a:r>
                <a:endParaRPr lang="ko-KR" altLang="en-US" dirty="0">
                  <a:solidFill>
                    <a:schemeClr val="tx1"/>
                  </a:solidFill>
                  <a:latin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70C0"/>
                  </a:buClr>
                  <a:defRPr/>
                </a:pPr>
                <a:r>
                  <a:rPr lang="zh-CN" altLang="en-US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年销售额：</a:t>
                </a:r>
                <a:r>
                  <a:rPr lang="en-US" altLang="zh-CN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2023</a:t>
                </a:r>
                <a:r>
                  <a:rPr lang="zh-CN" altLang="en-US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年</a:t>
                </a:r>
                <a:r>
                  <a:rPr lang="en-US" altLang="zh-CN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6.3</a:t>
                </a:r>
                <a:r>
                  <a:rPr lang="zh-CN" altLang="en-US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亿元（</a:t>
                </a:r>
                <a:r>
                  <a:rPr lang="en-US" altLang="zh-CN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RMB</a:t>
                </a:r>
                <a:r>
                  <a:rPr lang="zh-CN" altLang="en-US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）</a:t>
                </a:r>
                <a:r>
                  <a:rPr lang="en-US" altLang="zh-CN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 </a:t>
                </a:r>
                <a:endParaRPr lang="ko-KR" altLang="en-US" dirty="0">
                  <a:solidFill>
                    <a:schemeClr val="tx1"/>
                  </a:solidFill>
                  <a:latin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70C0"/>
                  </a:buClr>
                  <a:defRPr/>
                </a:pPr>
                <a:r>
                  <a:rPr lang="zh-TW" altLang="en-US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员工人数：</a:t>
                </a:r>
                <a:r>
                  <a:rPr lang="en-US" altLang="zh-CN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160</a:t>
                </a:r>
                <a:r>
                  <a:rPr lang="zh-CN" altLang="en-US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人</a:t>
                </a:r>
                <a:endParaRPr lang="ko-KR" altLang="en-US" dirty="0">
                  <a:solidFill>
                    <a:schemeClr val="tx1"/>
                  </a:solidFill>
                  <a:latin typeface="Arial" panose="020B0604020202020204" pitchFamily="34" charset="0"/>
                </a:endParaRPr>
              </a:p>
              <a:p>
                <a:pPr>
                  <a:lnSpc>
                    <a:spcPct val="150000"/>
                  </a:lnSpc>
                  <a:buClr>
                    <a:srgbClr val="0070C0"/>
                  </a:buClr>
                  <a:defRPr/>
                </a:pPr>
                <a:r>
                  <a:rPr lang="zh-CN" altLang="en-US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公司</a:t>
                </a:r>
                <a:r>
                  <a:rPr lang="zh-TW" altLang="en-US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面积：</a:t>
                </a:r>
                <a:r>
                  <a:rPr lang="en-US" altLang="zh-TW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8000 </a:t>
                </a:r>
                <a:r>
                  <a:rPr lang="en-US" altLang="zh-CN" sz="1800" dirty="0">
                    <a:solidFill>
                      <a:srgbClr val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m</a:t>
                </a:r>
                <a:r>
                  <a:rPr lang="en-US" altLang="zh-CN" sz="1800" baseline="30000" dirty="0">
                    <a:solidFill>
                      <a:srgbClr val="0000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2</a:t>
                </a:r>
              </a:p>
              <a:p>
                <a:pPr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70C0"/>
                  </a:buClr>
                  <a:defRPr/>
                </a:pPr>
                <a:endParaRPr lang="en-US" altLang="zh-CN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9" name="组合 8">
                <a:extLst>
                  <a:ext uri="{FF2B5EF4-FFF2-40B4-BE49-F238E27FC236}">
                    <a16:creationId xmlns:a16="http://schemas.microsoft.com/office/drawing/2014/main" id="{1A3CC525-490E-F0DC-54AC-F6B9D8E2BBC9}"/>
                  </a:ext>
                </a:extLst>
              </p:cNvPr>
              <p:cNvGrpSpPr/>
              <p:nvPr/>
            </p:nvGrpSpPr>
            <p:grpSpPr>
              <a:xfrm>
                <a:off x="5224679" y="4914825"/>
                <a:ext cx="540000" cy="540000"/>
                <a:chOff x="3694181" y="5941301"/>
                <a:chExt cx="540000" cy="540000"/>
              </a:xfrm>
            </p:grpSpPr>
            <p:sp>
              <p:nvSpPr>
                <p:cNvPr id="12" name="文本框 11">
                  <a:extLst>
                    <a:ext uri="{FF2B5EF4-FFF2-40B4-BE49-F238E27FC236}">
                      <a16:creationId xmlns:a16="http://schemas.microsoft.com/office/drawing/2014/main" id="{5922B4C6-DEBC-D739-C24A-FCF89E906021}"/>
                    </a:ext>
                  </a:extLst>
                </p:cNvPr>
                <p:cNvSpPr txBox="1"/>
                <p:nvPr/>
              </p:nvSpPr>
              <p:spPr>
                <a:xfrm>
                  <a:off x="3694181" y="5941301"/>
                  <a:ext cx="540000" cy="540000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accent2"/>
                </a:solidFill>
                <a:ln w="12700" cap="flat">
                  <a:noFill/>
                  <a:prstDash val="solid"/>
                  <a:miter/>
                </a:ln>
                <a:effectLst>
                  <a:outerShdw blurRad="127000" dist="63500" dir="2700000" algn="tl" rotWithShape="0">
                    <a:schemeClr val="accent2">
                      <a:alpha val="40000"/>
                    </a:schemeClr>
                  </a:outerShdw>
                </a:effectLst>
              </p:spPr>
              <p:txBody>
                <a:bodyPr rtlCol="0" anchor="ctr"/>
                <a:lstStyle>
                  <a:defPPr>
                    <a:defRPr lang="zh-CN"/>
                  </a:defPPr>
                  <a:lvl1pPr>
                    <a:defRPr/>
                  </a:lvl1pPr>
                </a:lstStyle>
                <a:p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13" name="任意多边形: 形状 12">
                  <a:extLst>
                    <a:ext uri="{FF2B5EF4-FFF2-40B4-BE49-F238E27FC236}">
                      <a16:creationId xmlns:a16="http://schemas.microsoft.com/office/drawing/2014/main" id="{8729EAA4-75E9-3919-7441-4FFD781FE4FF}"/>
                    </a:ext>
                  </a:extLst>
                </p:cNvPr>
                <p:cNvSpPr/>
                <p:nvPr/>
              </p:nvSpPr>
              <p:spPr>
                <a:xfrm>
                  <a:off x="3836314" y="6076057"/>
                  <a:ext cx="255734" cy="270488"/>
                </a:xfrm>
                <a:custGeom>
                  <a:avLst/>
                  <a:gdLst>
                    <a:gd name="connsiteX0" fmla="*/ 371955 w 495300"/>
                    <a:gd name="connsiteY0" fmla="*/ 621 h 523875"/>
                    <a:gd name="connsiteX1" fmla="*/ 400530 w 495300"/>
                    <a:gd name="connsiteY1" fmla="*/ 29196 h 523875"/>
                    <a:gd name="connsiteX2" fmla="*/ 400530 w 495300"/>
                    <a:gd name="connsiteY2" fmla="*/ 133971 h 523875"/>
                    <a:gd name="connsiteX3" fmla="*/ 371955 w 495300"/>
                    <a:gd name="connsiteY3" fmla="*/ 162546 h 523875"/>
                    <a:gd name="connsiteX4" fmla="*/ 257655 w 495300"/>
                    <a:gd name="connsiteY4" fmla="*/ 162546 h 523875"/>
                    <a:gd name="connsiteX5" fmla="*/ 257655 w 495300"/>
                    <a:gd name="connsiteY5" fmla="*/ 286371 h 523875"/>
                    <a:gd name="connsiteX6" fmla="*/ 419580 w 495300"/>
                    <a:gd name="connsiteY6" fmla="*/ 286371 h 523875"/>
                    <a:gd name="connsiteX7" fmla="*/ 457680 w 495300"/>
                    <a:gd name="connsiteY7" fmla="*/ 322566 h 523875"/>
                    <a:gd name="connsiteX8" fmla="*/ 457680 w 495300"/>
                    <a:gd name="connsiteY8" fmla="*/ 324471 h 523875"/>
                    <a:gd name="connsiteX9" fmla="*/ 457680 w 495300"/>
                    <a:gd name="connsiteY9" fmla="*/ 429246 h 523875"/>
                    <a:gd name="connsiteX10" fmla="*/ 476730 w 495300"/>
                    <a:gd name="connsiteY10" fmla="*/ 429246 h 523875"/>
                    <a:gd name="connsiteX11" fmla="*/ 495780 w 495300"/>
                    <a:gd name="connsiteY11" fmla="*/ 448296 h 523875"/>
                    <a:gd name="connsiteX12" fmla="*/ 495780 w 495300"/>
                    <a:gd name="connsiteY12" fmla="*/ 505446 h 523875"/>
                    <a:gd name="connsiteX13" fmla="*/ 476730 w 495300"/>
                    <a:gd name="connsiteY13" fmla="*/ 524496 h 523875"/>
                    <a:gd name="connsiteX14" fmla="*/ 419580 w 495300"/>
                    <a:gd name="connsiteY14" fmla="*/ 524496 h 523875"/>
                    <a:gd name="connsiteX15" fmla="*/ 400530 w 495300"/>
                    <a:gd name="connsiteY15" fmla="*/ 505446 h 523875"/>
                    <a:gd name="connsiteX16" fmla="*/ 400530 w 495300"/>
                    <a:gd name="connsiteY16" fmla="*/ 448296 h 523875"/>
                    <a:gd name="connsiteX17" fmla="*/ 419580 w 495300"/>
                    <a:gd name="connsiteY17" fmla="*/ 429246 h 523875"/>
                    <a:gd name="connsiteX18" fmla="*/ 438630 w 495300"/>
                    <a:gd name="connsiteY18" fmla="*/ 429246 h 523875"/>
                    <a:gd name="connsiteX19" fmla="*/ 438630 w 495300"/>
                    <a:gd name="connsiteY19" fmla="*/ 324471 h 523875"/>
                    <a:gd name="connsiteX20" fmla="*/ 420533 w 495300"/>
                    <a:gd name="connsiteY20" fmla="*/ 305421 h 523875"/>
                    <a:gd name="connsiteX21" fmla="*/ 419580 w 495300"/>
                    <a:gd name="connsiteY21" fmla="*/ 305421 h 523875"/>
                    <a:gd name="connsiteX22" fmla="*/ 257655 w 495300"/>
                    <a:gd name="connsiteY22" fmla="*/ 305421 h 523875"/>
                    <a:gd name="connsiteX23" fmla="*/ 257655 w 495300"/>
                    <a:gd name="connsiteY23" fmla="*/ 429246 h 523875"/>
                    <a:gd name="connsiteX24" fmla="*/ 276705 w 495300"/>
                    <a:gd name="connsiteY24" fmla="*/ 429246 h 523875"/>
                    <a:gd name="connsiteX25" fmla="*/ 295755 w 495300"/>
                    <a:gd name="connsiteY25" fmla="*/ 448296 h 523875"/>
                    <a:gd name="connsiteX26" fmla="*/ 295755 w 495300"/>
                    <a:gd name="connsiteY26" fmla="*/ 505446 h 523875"/>
                    <a:gd name="connsiteX27" fmla="*/ 276705 w 495300"/>
                    <a:gd name="connsiteY27" fmla="*/ 524496 h 523875"/>
                    <a:gd name="connsiteX28" fmla="*/ 219555 w 495300"/>
                    <a:gd name="connsiteY28" fmla="*/ 524496 h 523875"/>
                    <a:gd name="connsiteX29" fmla="*/ 200505 w 495300"/>
                    <a:gd name="connsiteY29" fmla="*/ 505446 h 523875"/>
                    <a:gd name="connsiteX30" fmla="*/ 200505 w 495300"/>
                    <a:gd name="connsiteY30" fmla="*/ 448296 h 523875"/>
                    <a:gd name="connsiteX31" fmla="*/ 219555 w 495300"/>
                    <a:gd name="connsiteY31" fmla="*/ 429246 h 523875"/>
                    <a:gd name="connsiteX32" fmla="*/ 238605 w 495300"/>
                    <a:gd name="connsiteY32" fmla="*/ 429246 h 523875"/>
                    <a:gd name="connsiteX33" fmla="*/ 238605 w 495300"/>
                    <a:gd name="connsiteY33" fmla="*/ 305421 h 523875"/>
                    <a:gd name="connsiteX34" fmla="*/ 76680 w 495300"/>
                    <a:gd name="connsiteY34" fmla="*/ 305421 h 523875"/>
                    <a:gd name="connsiteX35" fmla="*/ 57630 w 495300"/>
                    <a:gd name="connsiteY35" fmla="*/ 323519 h 523875"/>
                    <a:gd name="connsiteX36" fmla="*/ 57630 w 495300"/>
                    <a:gd name="connsiteY36" fmla="*/ 324471 h 523875"/>
                    <a:gd name="connsiteX37" fmla="*/ 57630 w 495300"/>
                    <a:gd name="connsiteY37" fmla="*/ 429246 h 523875"/>
                    <a:gd name="connsiteX38" fmla="*/ 76680 w 495300"/>
                    <a:gd name="connsiteY38" fmla="*/ 429246 h 523875"/>
                    <a:gd name="connsiteX39" fmla="*/ 95730 w 495300"/>
                    <a:gd name="connsiteY39" fmla="*/ 448296 h 523875"/>
                    <a:gd name="connsiteX40" fmla="*/ 95730 w 495300"/>
                    <a:gd name="connsiteY40" fmla="*/ 505446 h 523875"/>
                    <a:gd name="connsiteX41" fmla="*/ 76680 w 495300"/>
                    <a:gd name="connsiteY41" fmla="*/ 524496 h 523875"/>
                    <a:gd name="connsiteX42" fmla="*/ 19530 w 495300"/>
                    <a:gd name="connsiteY42" fmla="*/ 524496 h 523875"/>
                    <a:gd name="connsiteX43" fmla="*/ 480 w 495300"/>
                    <a:gd name="connsiteY43" fmla="*/ 505446 h 523875"/>
                    <a:gd name="connsiteX44" fmla="*/ 480 w 495300"/>
                    <a:gd name="connsiteY44" fmla="*/ 448296 h 523875"/>
                    <a:gd name="connsiteX45" fmla="*/ 19530 w 495300"/>
                    <a:gd name="connsiteY45" fmla="*/ 429246 h 523875"/>
                    <a:gd name="connsiteX46" fmla="*/ 38580 w 495300"/>
                    <a:gd name="connsiteY46" fmla="*/ 429246 h 523875"/>
                    <a:gd name="connsiteX47" fmla="*/ 38580 w 495300"/>
                    <a:gd name="connsiteY47" fmla="*/ 324471 h 523875"/>
                    <a:gd name="connsiteX48" fmla="*/ 74775 w 495300"/>
                    <a:gd name="connsiteY48" fmla="*/ 286371 h 523875"/>
                    <a:gd name="connsiteX49" fmla="*/ 76680 w 495300"/>
                    <a:gd name="connsiteY49" fmla="*/ 286371 h 523875"/>
                    <a:gd name="connsiteX50" fmla="*/ 238605 w 495300"/>
                    <a:gd name="connsiteY50" fmla="*/ 286371 h 523875"/>
                    <a:gd name="connsiteX51" fmla="*/ 238605 w 495300"/>
                    <a:gd name="connsiteY51" fmla="*/ 162546 h 523875"/>
                    <a:gd name="connsiteX52" fmla="*/ 124305 w 495300"/>
                    <a:gd name="connsiteY52" fmla="*/ 162546 h 523875"/>
                    <a:gd name="connsiteX53" fmla="*/ 95730 w 495300"/>
                    <a:gd name="connsiteY53" fmla="*/ 133971 h 523875"/>
                    <a:gd name="connsiteX54" fmla="*/ 95730 w 495300"/>
                    <a:gd name="connsiteY54" fmla="*/ 29196 h 523875"/>
                    <a:gd name="connsiteX55" fmla="*/ 124305 w 495300"/>
                    <a:gd name="connsiteY55" fmla="*/ 621 h 523875"/>
                    <a:gd name="connsiteX56" fmla="*/ 371955 w 495300"/>
                    <a:gd name="connsiteY56" fmla="*/ 621 h 523875"/>
                    <a:gd name="connsiteX57" fmla="*/ 148118 w 495300"/>
                    <a:gd name="connsiteY57" fmla="*/ 95871 h 523875"/>
                    <a:gd name="connsiteX58" fmla="*/ 133830 w 495300"/>
                    <a:gd name="connsiteY58" fmla="*/ 110159 h 523875"/>
                    <a:gd name="connsiteX59" fmla="*/ 148118 w 495300"/>
                    <a:gd name="connsiteY59" fmla="*/ 124446 h 523875"/>
                    <a:gd name="connsiteX60" fmla="*/ 162405 w 495300"/>
                    <a:gd name="connsiteY60" fmla="*/ 110159 h 523875"/>
                    <a:gd name="connsiteX61" fmla="*/ 148118 w 495300"/>
                    <a:gd name="connsiteY61" fmla="*/ 95871 h 5238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</a:cxnLst>
                  <a:rect l="l" t="t" r="r" b="b"/>
                  <a:pathLst>
                    <a:path w="495300" h="523875">
                      <a:moveTo>
                        <a:pt x="371955" y="621"/>
                      </a:moveTo>
                      <a:cubicBezTo>
                        <a:pt x="388148" y="621"/>
                        <a:pt x="400530" y="13004"/>
                        <a:pt x="400530" y="29196"/>
                      </a:cubicBezTo>
                      <a:lnTo>
                        <a:pt x="400530" y="133971"/>
                      </a:lnTo>
                      <a:cubicBezTo>
                        <a:pt x="400530" y="150164"/>
                        <a:pt x="388148" y="162546"/>
                        <a:pt x="371955" y="162546"/>
                      </a:cubicBezTo>
                      <a:lnTo>
                        <a:pt x="257655" y="162546"/>
                      </a:lnTo>
                      <a:lnTo>
                        <a:pt x="257655" y="286371"/>
                      </a:lnTo>
                      <a:lnTo>
                        <a:pt x="419580" y="286371"/>
                      </a:lnTo>
                      <a:cubicBezTo>
                        <a:pt x="439583" y="286371"/>
                        <a:pt x="456727" y="302564"/>
                        <a:pt x="457680" y="322566"/>
                      </a:cubicBezTo>
                      <a:lnTo>
                        <a:pt x="457680" y="324471"/>
                      </a:lnTo>
                      <a:lnTo>
                        <a:pt x="457680" y="429246"/>
                      </a:lnTo>
                      <a:lnTo>
                        <a:pt x="476730" y="429246"/>
                      </a:lnTo>
                      <a:cubicBezTo>
                        <a:pt x="487208" y="429246"/>
                        <a:pt x="495780" y="437819"/>
                        <a:pt x="495780" y="448296"/>
                      </a:cubicBezTo>
                      <a:lnTo>
                        <a:pt x="495780" y="505446"/>
                      </a:lnTo>
                      <a:cubicBezTo>
                        <a:pt x="495780" y="515924"/>
                        <a:pt x="487208" y="524496"/>
                        <a:pt x="476730" y="524496"/>
                      </a:cubicBezTo>
                      <a:lnTo>
                        <a:pt x="419580" y="524496"/>
                      </a:lnTo>
                      <a:cubicBezTo>
                        <a:pt x="409102" y="524496"/>
                        <a:pt x="400530" y="515924"/>
                        <a:pt x="400530" y="505446"/>
                      </a:cubicBezTo>
                      <a:lnTo>
                        <a:pt x="400530" y="448296"/>
                      </a:lnTo>
                      <a:cubicBezTo>
                        <a:pt x="400530" y="437819"/>
                        <a:pt x="409102" y="429246"/>
                        <a:pt x="419580" y="429246"/>
                      </a:cubicBezTo>
                      <a:lnTo>
                        <a:pt x="438630" y="429246"/>
                      </a:lnTo>
                      <a:lnTo>
                        <a:pt x="438630" y="324471"/>
                      </a:lnTo>
                      <a:cubicBezTo>
                        <a:pt x="438630" y="313994"/>
                        <a:pt x="431010" y="306374"/>
                        <a:pt x="420533" y="305421"/>
                      </a:cubicBezTo>
                      <a:lnTo>
                        <a:pt x="419580" y="305421"/>
                      </a:lnTo>
                      <a:lnTo>
                        <a:pt x="257655" y="305421"/>
                      </a:lnTo>
                      <a:lnTo>
                        <a:pt x="257655" y="429246"/>
                      </a:lnTo>
                      <a:lnTo>
                        <a:pt x="276705" y="429246"/>
                      </a:lnTo>
                      <a:cubicBezTo>
                        <a:pt x="287183" y="429246"/>
                        <a:pt x="295755" y="437819"/>
                        <a:pt x="295755" y="448296"/>
                      </a:cubicBezTo>
                      <a:lnTo>
                        <a:pt x="295755" y="505446"/>
                      </a:lnTo>
                      <a:cubicBezTo>
                        <a:pt x="295755" y="515924"/>
                        <a:pt x="287183" y="524496"/>
                        <a:pt x="276705" y="524496"/>
                      </a:cubicBezTo>
                      <a:lnTo>
                        <a:pt x="219555" y="524496"/>
                      </a:lnTo>
                      <a:cubicBezTo>
                        <a:pt x="209077" y="524496"/>
                        <a:pt x="200505" y="515924"/>
                        <a:pt x="200505" y="505446"/>
                      </a:cubicBezTo>
                      <a:lnTo>
                        <a:pt x="200505" y="448296"/>
                      </a:lnTo>
                      <a:cubicBezTo>
                        <a:pt x="200505" y="437819"/>
                        <a:pt x="209077" y="429246"/>
                        <a:pt x="219555" y="429246"/>
                      </a:cubicBezTo>
                      <a:lnTo>
                        <a:pt x="238605" y="429246"/>
                      </a:lnTo>
                      <a:lnTo>
                        <a:pt x="238605" y="305421"/>
                      </a:lnTo>
                      <a:lnTo>
                        <a:pt x="76680" y="305421"/>
                      </a:lnTo>
                      <a:cubicBezTo>
                        <a:pt x="66202" y="305421"/>
                        <a:pt x="58583" y="313041"/>
                        <a:pt x="57630" y="323519"/>
                      </a:cubicBezTo>
                      <a:lnTo>
                        <a:pt x="57630" y="324471"/>
                      </a:lnTo>
                      <a:lnTo>
                        <a:pt x="57630" y="429246"/>
                      </a:lnTo>
                      <a:lnTo>
                        <a:pt x="76680" y="429246"/>
                      </a:lnTo>
                      <a:cubicBezTo>
                        <a:pt x="87158" y="429246"/>
                        <a:pt x="95730" y="437819"/>
                        <a:pt x="95730" y="448296"/>
                      </a:cubicBezTo>
                      <a:lnTo>
                        <a:pt x="95730" y="505446"/>
                      </a:lnTo>
                      <a:cubicBezTo>
                        <a:pt x="95730" y="515924"/>
                        <a:pt x="87158" y="524496"/>
                        <a:pt x="76680" y="524496"/>
                      </a:cubicBezTo>
                      <a:lnTo>
                        <a:pt x="19530" y="524496"/>
                      </a:lnTo>
                      <a:cubicBezTo>
                        <a:pt x="9052" y="524496"/>
                        <a:pt x="480" y="515924"/>
                        <a:pt x="480" y="505446"/>
                      </a:cubicBezTo>
                      <a:lnTo>
                        <a:pt x="480" y="448296"/>
                      </a:lnTo>
                      <a:cubicBezTo>
                        <a:pt x="480" y="437819"/>
                        <a:pt x="9052" y="429246"/>
                        <a:pt x="19530" y="429246"/>
                      </a:cubicBezTo>
                      <a:lnTo>
                        <a:pt x="38580" y="429246"/>
                      </a:lnTo>
                      <a:lnTo>
                        <a:pt x="38580" y="324471"/>
                      </a:lnTo>
                      <a:cubicBezTo>
                        <a:pt x="38580" y="304469"/>
                        <a:pt x="54773" y="287324"/>
                        <a:pt x="74775" y="286371"/>
                      </a:cubicBezTo>
                      <a:lnTo>
                        <a:pt x="76680" y="286371"/>
                      </a:lnTo>
                      <a:lnTo>
                        <a:pt x="238605" y="286371"/>
                      </a:lnTo>
                      <a:lnTo>
                        <a:pt x="238605" y="162546"/>
                      </a:lnTo>
                      <a:lnTo>
                        <a:pt x="124305" y="162546"/>
                      </a:lnTo>
                      <a:cubicBezTo>
                        <a:pt x="108112" y="162546"/>
                        <a:pt x="95730" y="150164"/>
                        <a:pt x="95730" y="133971"/>
                      </a:cubicBezTo>
                      <a:lnTo>
                        <a:pt x="95730" y="29196"/>
                      </a:lnTo>
                      <a:cubicBezTo>
                        <a:pt x="95730" y="13004"/>
                        <a:pt x="108112" y="621"/>
                        <a:pt x="124305" y="621"/>
                      </a:cubicBezTo>
                      <a:lnTo>
                        <a:pt x="371955" y="621"/>
                      </a:lnTo>
                      <a:close/>
                      <a:moveTo>
                        <a:pt x="148118" y="95871"/>
                      </a:moveTo>
                      <a:cubicBezTo>
                        <a:pt x="140498" y="95871"/>
                        <a:pt x="133830" y="102539"/>
                        <a:pt x="133830" y="110159"/>
                      </a:cubicBezTo>
                      <a:cubicBezTo>
                        <a:pt x="133830" y="117779"/>
                        <a:pt x="140498" y="124446"/>
                        <a:pt x="148118" y="124446"/>
                      </a:cubicBezTo>
                      <a:cubicBezTo>
                        <a:pt x="155737" y="124446"/>
                        <a:pt x="162405" y="117779"/>
                        <a:pt x="162405" y="110159"/>
                      </a:cubicBezTo>
                      <a:cubicBezTo>
                        <a:pt x="162405" y="102539"/>
                        <a:pt x="155737" y="95871"/>
                        <a:pt x="148118" y="9587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9500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文本框 41"/>
          <p:cNvSpPr txBox="1"/>
          <p:nvPr/>
        </p:nvSpPr>
        <p:spPr>
          <a:xfrm>
            <a:off x="2451868" y="4143380"/>
            <a:ext cx="6833442" cy="769441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  <a:sp3d extrusionH="57150">
              <a:bevelT w="57150" h="38100" prst="artDeco"/>
              <a:bevelB w="38100" h="38100" prst="relaxedInset"/>
            </a:sp3d>
          </a:bodyPr>
          <a:lstStyle/>
          <a:p>
            <a:pPr algn="ctr"/>
            <a:r>
              <a:rPr lang="zh-CN" altLang="en-US" sz="4400" b="1" dirty="0">
                <a:solidFill>
                  <a:srgbClr val="0070C0"/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感谢您的聆听</a:t>
            </a:r>
          </a:p>
        </p:txBody>
      </p:sp>
      <p:sp>
        <p:nvSpPr>
          <p:cNvPr id="2" name="椭圆 1"/>
          <p:cNvSpPr/>
          <p:nvPr/>
        </p:nvSpPr>
        <p:spPr>
          <a:xfrm>
            <a:off x="3070870" y="980728"/>
            <a:ext cx="5256584" cy="3004754"/>
          </a:xfrm>
          <a:prstGeom prst="ellipse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5000" t="16000" r="8000" b="6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" name="组合 4"/>
          <p:cNvGrpSpPr/>
          <p:nvPr/>
        </p:nvGrpSpPr>
        <p:grpSpPr>
          <a:xfrm>
            <a:off x="0" y="-171400"/>
            <a:ext cx="1405783" cy="1634040"/>
            <a:chOff x="5303118" y="3068960"/>
            <a:chExt cx="1800200" cy="1802633"/>
          </a:xfrm>
        </p:grpSpPr>
        <p:sp>
          <p:nvSpPr>
            <p:cNvPr id="6" name="椭圆 5"/>
            <p:cNvSpPr/>
            <p:nvPr/>
          </p:nvSpPr>
          <p:spPr bwMode="auto">
            <a:xfrm>
              <a:off x="5303118" y="3068960"/>
              <a:ext cx="1800200" cy="1802633"/>
            </a:xfrm>
            <a:prstGeom prst="ellipse">
              <a:avLst/>
            </a:prstGeom>
            <a:blipFill dpi="0"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l="18000" t="19000" r="20000" b="21000"/>
              </a:stretch>
            </a:blipFill>
            <a:ln>
              <a:noFill/>
            </a:ln>
            <a:effectLst>
              <a:outerShdw blurRad="241300" dist="101600" dir="2700000" algn="tl" rotWithShape="0">
                <a:prstClr val="black">
                  <a:alpha val="3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 sz="2400" b="1" dirty="0"/>
            </a:p>
          </p:txBody>
        </p:sp>
        <p:sp>
          <p:nvSpPr>
            <p:cNvPr id="7" name="椭圆 6"/>
            <p:cNvSpPr/>
            <p:nvPr/>
          </p:nvSpPr>
          <p:spPr>
            <a:xfrm>
              <a:off x="5447134" y="3214192"/>
              <a:ext cx="1512168" cy="1512168"/>
            </a:xfrm>
            <a:prstGeom prst="ellipse">
              <a:avLst/>
            </a:prstGeom>
            <a:noFill/>
            <a:ln w="41275">
              <a:noFill/>
            </a:ln>
            <a:scene3d>
              <a:camera prst="obliqueTopRight"/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5483138" y="3646185"/>
              <a:ext cx="1440160" cy="646911"/>
              <a:chOff x="5483138" y="3615407"/>
              <a:chExt cx="1440160" cy="646911"/>
            </a:xfrm>
          </p:grpSpPr>
          <p:sp>
            <p:nvSpPr>
              <p:cNvPr id="9" name="文本框 3"/>
              <p:cNvSpPr txBox="1"/>
              <p:nvPr/>
            </p:nvSpPr>
            <p:spPr>
              <a:xfrm>
                <a:off x="5537144" y="3615407"/>
                <a:ext cx="1332148" cy="461665"/>
              </a:xfrm>
              <a:prstGeom prst="rect">
                <a:avLst/>
              </a:prstGeom>
              <a:noFill/>
              <a:effectLst/>
            </p:spPr>
            <p:txBody>
              <a:bodyPr wrap="square" rtlCol="0">
                <a:spAutoFit/>
              </a:bodyPr>
              <a:lstStyle/>
              <a:p>
                <a:pPr algn="ctr"/>
                <a:endParaRPr lang="zh-CN" altLang="en-US" sz="2300" b="1" kern="2200" dirty="0"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44000">
                        <a:srgbClr val="0070C0">
                          <a:shade val="67500"/>
                          <a:satMod val="115000"/>
                        </a:srgbClr>
                      </a:gs>
                      <a:gs pos="75000">
                        <a:srgbClr val="00B0F0"/>
                      </a:gs>
                      <a:gs pos="56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8000000" scaled="0"/>
                    <a:tileRect/>
                  </a:gra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0" name="文本框 3"/>
              <p:cNvSpPr txBox="1"/>
              <p:nvPr/>
            </p:nvSpPr>
            <p:spPr>
              <a:xfrm>
                <a:off x="5483138" y="3923764"/>
                <a:ext cx="1440160" cy="338554"/>
              </a:xfrm>
              <a:prstGeom prst="rect">
                <a:avLst/>
              </a:prstGeom>
              <a:noFill/>
              <a:effectLst/>
            </p:spPr>
            <p:txBody>
              <a:bodyPr wrap="square" rtlCol="0">
                <a:spAutoFit/>
              </a:bodyPr>
              <a:lstStyle/>
              <a:p>
                <a:pPr algn="ctr"/>
                <a:endParaRPr lang="zh-CN" altLang="en-US" sz="1600" kern="2200" dirty="0">
                  <a:gradFill flip="none" rotWithShape="1">
                    <a:gsLst>
                      <a:gs pos="0">
                        <a:srgbClr val="0070C0">
                          <a:shade val="30000"/>
                          <a:satMod val="115000"/>
                        </a:srgbClr>
                      </a:gs>
                      <a:gs pos="44000">
                        <a:srgbClr val="0070C0">
                          <a:shade val="67500"/>
                          <a:satMod val="115000"/>
                        </a:srgbClr>
                      </a:gs>
                      <a:gs pos="75000">
                        <a:srgbClr val="00B0F0"/>
                      </a:gs>
                      <a:gs pos="56000">
                        <a:srgbClr val="0070C0">
                          <a:shade val="100000"/>
                          <a:satMod val="115000"/>
                        </a:srgbClr>
                      </a:gs>
                    </a:gsLst>
                    <a:lin ang="18000000" scaled="0"/>
                    <a:tileRect/>
                  </a:gradFill>
                  <a:effectLst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 tmFilter="0,0; .5, 1; 1, 1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1"/>
          <p:cNvSpPr>
            <a:spLocks noChangeArrowheads="1"/>
          </p:cNvSpPr>
          <p:nvPr/>
        </p:nvSpPr>
        <p:spPr bwMode="auto">
          <a:xfrm>
            <a:off x="4942736" y="404858"/>
            <a:ext cx="21666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6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发展历程</a:t>
            </a:r>
          </a:p>
        </p:txBody>
      </p: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3F808CAD-83A1-5553-D451-7943605EB1A8}"/>
              </a:ext>
            </a:extLst>
          </p:cNvPr>
          <p:cNvGrpSpPr/>
          <p:nvPr/>
        </p:nvGrpSpPr>
        <p:grpSpPr>
          <a:xfrm>
            <a:off x="-116672" y="2068853"/>
            <a:ext cx="12423757" cy="4043406"/>
            <a:chOff x="-116672" y="2068853"/>
            <a:chExt cx="12423757" cy="4043406"/>
          </a:xfrm>
        </p:grpSpPr>
        <p:sp>
          <p:nvSpPr>
            <p:cNvPr id="3" name="1">
              <a:extLst>
                <a:ext uri="{FF2B5EF4-FFF2-40B4-BE49-F238E27FC236}">
                  <a16:creationId xmlns:a16="http://schemas.microsoft.com/office/drawing/2014/main" id="{B1E544FC-7BC7-AEE5-11A5-5E37AB40BE80}"/>
                </a:ext>
              </a:extLst>
            </p:cNvPr>
            <p:cNvSpPr/>
            <p:nvPr/>
          </p:nvSpPr>
          <p:spPr>
            <a:xfrm rot="21188811">
              <a:off x="-116672" y="3713520"/>
              <a:ext cx="12423757" cy="1612455"/>
            </a:xfrm>
            <a:custGeom>
              <a:avLst/>
              <a:gdLst>
                <a:gd name="connsiteX0" fmla="*/ 0 w 10811435"/>
                <a:gd name="connsiteY0" fmla="*/ 462579 h 462579"/>
                <a:gd name="connsiteX1" fmla="*/ 5109882 w 10811435"/>
                <a:gd name="connsiteY1" fmla="*/ 161365 h 462579"/>
                <a:gd name="connsiteX2" fmla="*/ 8477026 w 10811435"/>
                <a:gd name="connsiteY2" fmla="*/ 344245 h 462579"/>
                <a:gd name="connsiteX3" fmla="*/ 10811435 w 10811435"/>
                <a:gd name="connsiteY3" fmla="*/ 0 h 462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11435" h="462579">
                  <a:moveTo>
                    <a:pt x="0" y="462579"/>
                  </a:moveTo>
                  <a:cubicBezTo>
                    <a:pt x="1848522" y="321833"/>
                    <a:pt x="3697044" y="181087"/>
                    <a:pt x="5109882" y="161365"/>
                  </a:cubicBezTo>
                  <a:cubicBezTo>
                    <a:pt x="6522720" y="141643"/>
                    <a:pt x="7526767" y="371139"/>
                    <a:pt x="8477026" y="344245"/>
                  </a:cubicBezTo>
                  <a:cubicBezTo>
                    <a:pt x="9427285" y="317351"/>
                    <a:pt x="10119360" y="158675"/>
                    <a:pt x="10811435" y="0"/>
                  </a:cubicBezTo>
                </a:path>
              </a:pathLst>
            </a:custGeom>
            <a:noFill/>
            <a:ln w="63500">
              <a:gradFill flip="none" rotWithShape="1">
                <a:gsLst>
                  <a:gs pos="57000">
                    <a:srgbClr val="0070C0"/>
                  </a:gs>
                  <a:gs pos="0">
                    <a:srgbClr val="00B0F0"/>
                  </a:gs>
                  <a:gs pos="100000">
                    <a:schemeClr val="accent5">
                      <a:lumMod val="75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9">
                <a:defRPr/>
              </a:pPr>
              <a:endParaRPr lang="zh-CN" altLang="en-US">
                <a:solidFill>
                  <a:srgbClr val="FFFFFF"/>
                </a:solidFill>
                <a:latin typeface="Arial"/>
                <a:ea typeface="Microsoft YaHei Light"/>
                <a:cs typeface="+mn-ea"/>
                <a:sym typeface="+mn-lt"/>
              </a:endParaRPr>
            </a:p>
          </p:txBody>
        </p:sp>
        <p:grpSp>
          <p:nvGrpSpPr>
            <p:cNvPr id="63" name="组合 62">
              <a:extLst>
                <a:ext uri="{FF2B5EF4-FFF2-40B4-BE49-F238E27FC236}">
                  <a16:creationId xmlns:a16="http://schemas.microsoft.com/office/drawing/2014/main" id="{474BC0BD-E158-D6C6-205D-E2FBB9B57912}"/>
                </a:ext>
              </a:extLst>
            </p:cNvPr>
            <p:cNvGrpSpPr/>
            <p:nvPr/>
          </p:nvGrpSpPr>
          <p:grpSpPr>
            <a:xfrm>
              <a:off x="20377" y="2068853"/>
              <a:ext cx="11570473" cy="4043406"/>
              <a:chOff x="20377" y="2068853"/>
              <a:chExt cx="11570473" cy="4043406"/>
            </a:xfrm>
          </p:grpSpPr>
          <p:grpSp>
            <p:nvGrpSpPr>
              <p:cNvPr id="82" name="组合 81">
                <a:extLst>
                  <a:ext uri="{FF2B5EF4-FFF2-40B4-BE49-F238E27FC236}">
                    <a16:creationId xmlns:a16="http://schemas.microsoft.com/office/drawing/2014/main" id="{10B36BDE-7AC5-E550-5B5B-B2685E663FB9}"/>
                  </a:ext>
                </a:extLst>
              </p:cNvPr>
              <p:cNvGrpSpPr/>
              <p:nvPr/>
            </p:nvGrpSpPr>
            <p:grpSpPr>
              <a:xfrm>
                <a:off x="20377" y="3805442"/>
                <a:ext cx="1364567" cy="2306817"/>
                <a:chOff x="778741" y="2959821"/>
                <a:chExt cx="1364567" cy="2306817"/>
              </a:xfrm>
            </p:grpSpPr>
            <p:cxnSp>
              <p:nvCxnSpPr>
                <p:cNvPr id="13" name="直接连接符 12">
                  <a:extLst>
                    <a:ext uri="{FF2B5EF4-FFF2-40B4-BE49-F238E27FC236}">
                      <a16:creationId xmlns:a16="http://schemas.microsoft.com/office/drawing/2014/main" id="{255D9DD3-EB57-1A3B-1A86-78E7DDED52E6}"/>
                    </a:ext>
                  </a:extLst>
                </p:cNvPr>
                <p:cNvCxnSpPr>
                  <a:cxnSpLocks/>
                  <a:stCxn id="79" idx="0"/>
                </p:cNvCxnSpPr>
                <p:nvPr/>
              </p:nvCxnSpPr>
              <p:spPr>
                <a:xfrm flipH="1" flipV="1">
                  <a:off x="885710" y="2959821"/>
                  <a:ext cx="5630" cy="2137823"/>
                </a:xfrm>
                <a:prstGeom prst="line">
                  <a:avLst/>
                </a:prstGeom>
                <a:ln w="28575">
                  <a:gradFill flip="none" rotWithShape="1">
                    <a:gsLst>
                      <a:gs pos="0">
                        <a:schemeClr val="accent6">
                          <a:lumMod val="75000"/>
                        </a:schemeClr>
                      </a:gs>
                      <a:gs pos="100000">
                        <a:schemeClr val="accent6">
                          <a:lumMod val="75000"/>
                        </a:schemeClr>
                      </a:gs>
                      <a:gs pos="51000">
                        <a:schemeClr val="accent6">
                          <a:lumMod val="75000"/>
                        </a:schemeClr>
                      </a:gs>
                    </a:gsLst>
                    <a:lin ang="16200000" scaled="1"/>
                    <a:tileRect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" name="矩形 4">
                  <a:extLst>
                    <a:ext uri="{FF2B5EF4-FFF2-40B4-BE49-F238E27FC236}">
                      <a16:creationId xmlns:a16="http://schemas.microsoft.com/office/drawing/2014/main" id="{E4E19737-C2C8-F35C-6E94-BAAB326396E2}"/>
                    </a:ext>
                  </a:extLst>
                </p:cNvPr>
                <p:cNvSpPr/>
                <p:nvPr/>
              </p:nvSpPr>
              <p:spPr>
                <a:xfrm>
                  <a:off x="876906" y="2959821"/>
                  <a:ext cx="1247172" cy="232984"/>
                </a:xfrm>
                <a:prstGeom prst="rect">
                  <a:avLst/>
                </a:prstGeom>
                <a:gradFill>
                  <a:gsLst>
                    <a:gs pos="0">
                      <a:schemeClr val="accent6">
                        <a:lumMod val="60000"/>
                        <a:lumOff val="40000"/>
                      </a:schemeClr>
                    </a:gs>
                    <a:gs pos="60000">
                      <a:schemeClr val="accent6">
                        <a:lumMod val="75000"/>
                      </a:schemeClr>
                    </a:gs>
                  </a:gsLst>
                  <a:lin ang="2700000" scaled="0"/>
                </a:gradFill>
                <a:ln w="57150" cap="rnd">
                  <a:noFill/>
                  <a:prstDash val="solid"/>
                  <a:round/>
                </a:ln>
                <a:effectLst>
                  <a:outerShdw blurRad="76200" dist="50800" dir="5400000" algn="ctr" rotWithShape="0">
                    <a:schemeClr val="accent1"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 defTabSz="914309">
                    <a:defRPr/>
                  </a:pPr>
                  <a:r>
                    <a:rPr lang="en-US" altLang="zh-CN" b="1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  <a:sym typeface="+mn-lt"/>
                    </a:rPr>
                    <a:t>2005</a:t>
                  </a:r>
                  <a:endParaRPr lang="zh-CN" altLang="en-US" b="1" dirty="0">
                    <a:solidFill>
                      <a:prstClr val="white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+mn-lt"/>
                  </a:endParaRPr>
                </a:p>
              </p:txBody>
            </p:sp>
            <p:sp>
              <p:nvSpPr>
                <p:cNvPr id="9" name="文本框 8">
                  <a:extLst>
                    <a:ext uri="{FF2B5EF4-FFF2-40B4-BE49-F238E27FC236}">
                      <a16:creationId xmlns:a16="http://schemas.microsoft.com/office/drawing/2014/main" id="{7817D50A-F8B0-B397-79DD-B65A0B66BD7F}"/>
                    </a:ext>
                  </a:extLst>
                </p:cNvPr>
                <p:cNvSpPr txBox="1"/>
                <p:nvPr/>
              </p:nvSpPr>
              <p:spPr>
                <a:xfrm>
                  <a:off x="891339" y="3204263"/>
                  <a:ext cx="1251969" cy="587469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zh-CN" altLang="en-US" sz="1400" b="1" dirty="0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安贝尔（香港）国际有限公司</a:t>
                  </a:r>
                </a:p>
              </p:txBody>
            </p:sp>
            <p:grpSp>
              <p:nvGrpSpPr>
                <p:cNvPr id="12" name="组合 11">
                  <a:extLst>
                    <a:ext uri="{FF2B5EF4-FFF2-40B4-BE49-F238E27FC236}">
                      <a16:creationId xmlns:a16="http://schemas.microsoft.com/office/drawing/2014/main" id="{8C9481E5-CCA5-CE18-1AC1-5875302A398B}"/>
                    </a:ext>
                  </a:extLst>
                </p:cNvPr>
                <p:cNvGrpSpPr/>
                <p:nvPr/>
              </p:nvGrpSpPr>
              <p:grpSpPr>
                <a:xfrm>
                  <a:off x="778741" y="5034680"/>
                  <a:ext cx="225197" cy="231958"/>
                  <a:chOff x="802523" y="5036828"/>
                  <a:chExt cx="151978" cy="151978"/>
                </a:xfrm>
              </p:grpSpPr>
              <p:sp>
                <p:nvSpPr>
                  <p:cNvPr id="78" name="椭圆 77">
                    <a:extLst>
                      <a:ext uri="{FF2B5EF4-FFF2-40B4-BE49-F238E27FC236}">
                        <a16:creationId xmlns:a16="http://schemas.microsoft.com/office/drawing/2014/main" id="{584D1F68-3319-E08D-6657-2DF00D5B0ADD}"/>
                      </a:ext>
                    </a:extLst>
                  </p:cNvPr>
                  <p:cNvSpPr/>
                  <p:nvPr/>
                </p:nvSpPr>
                <p:spPr>
                  <a:xfrm>
                    <a:off x="802523" y="5036828"/>
                    <a:ext cx="151978" cy="151978"/>
                  </a:xfrm>
                  <a:prstGeom prst="ellipse">
                    <a:avLst/>
                  </a:prstGeom>
                  <a:gradFill flip="none" rotWithShape="1">
                    <a:gsLst>
                      <a:gs pos="32000">
                        <a:srgbClr val="FFC000"/>
                      </a:gs>
                      <a:gs pos="100000">
                        <a:schemeClr val="accent2"/>
                      </a:gs>
                    </a:gsLst>
                    <a:path path="circl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09">
                      <a:defRPr/>
                    </a:pPr>
                    <a:endParaRPr lang="zh-CN" altLang="en-US">
                      <a:solidFill>
                        <a:srgbClr val="FFFFFF"/>
                      </a:solidFill>
                      <a:latin typeface="Arial"/>
                      <a:ea typeface="Microsoft YaHei Light"/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79" name="椭圆 78">
                    <a:extLst>
                      <a:ext uri="{FF2B5EF4-FFF2-40B4-BE49-F238E27FC236}">
                        <a16:creationId xmlns:a16="http://schemas.microsoft.com/office/drawing/2014/main" id="{80D38E02-A272-6370-F38E-5B2C1ED04D00}"/>
                      </a:ext>
                    </a:extLst>
                  </p:cNvPr>
                  <p:cNvSpPr/>
                  <p:nvPr/>
                </p:nvSpPr>
                <p:spPr>
                  <a:xfrm>
                    <a:off x="843777" y="5078082"/>
                    <a:ext cx="69471" cy="69471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accent6">
                          <a:lumMod val="75000"/>
                        </a:schemeClr>
                      </a:gs>
                      <a:gs pos="84000">
                        <a:schemeClr val="accent2"/>
                      </a:gs>
                    </a:gsLst>
                    <a:lin ang="27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09">
                      <a:defRPr/>
                    </a:pPr>
                    <a:endParaRPr lang="zh-CN" altLang="en-US">
                      <a:solidFill>
                        <a:srgbClr val="FFFFFF"/>
                      </a:solidFill>
                      <a:latin typeface="Arial"/>
                      <a:ea typeface="Microsoft YaHei Light"/>
                      <a:cs typeface="+mn-ea"/>
                      <a:sym typeface="+mn-lt"/>
                    </a:endParaRPr>
                  </a:p>
                </p:txBody>
              </p:sp>
            </p:grpSp>
          </p:grpSp>
          <p:grpSp>
            <p:nvGrpSpPr>
              <p:cNvPr id="2" name="组合 1">
                <a:extLst>
                  <a:ext uri="{FF2B5EF4-FFF2-40B4-BE49-F238E27FC236}">
                    <a16:creationId xmlns:a16="http://schemas.microsoft.com/office/drawing/2014/main" id="{5FC555BA-CCA0-464F-EF5A-0DDD1ED98CDE}"/>
                  </a:ext>
                </a:extLst>
              </p:cNvPr>
              <p:cNvGrpSpPr/>
              <p:nvPr/>
            </p:nvGrpSpPr>
            <p:grpSpPr>
              <a:xfrm>
                <a:off x="1965401" y="3137182"/>
                <a:ext cx="1364567" cy="2306817"/>
                <a:chOff x="778741" y="2959821"/>
                <a:chExt cx="1364567" cy="2306817"/>
              </a:xfrm>
            </p:grpSpPr>
            <p:cxnSp>
              <p:nvCxnSpPr>
                <p:cNvPr id="6" name="直接连接符 5">
                  <a:extLst>
                    <a:ext uri="{FF2B5EF4-FFF2-40B4-BE49-F238E27FC236}">
                      <a16:creationId xmlns:a16="http://schemas.microsoft.com/office/drawing/2014/main" id="{8D91F98D-23CC-02B7-95C6-504F05E62439}"/>
                    </a:ext>
                  </a:extLst>
                </p:cNvPr>
                <p:cNvCxnSpPr>
                  <a:cxnSpLocks/>
                  <a:stCxn id="15" idx="0"/>
                </p:cNvCxnSpPr>
                <p:nvPr/>
              </p:nvCxnSpPr>
              <p:spPr>
                <a:xfrm flipH="1" flipV="1">
                  <a:off x="885710" y="2959821"/>
                  <a:ext cx="5630" cy="2137823"/>
                </a:xfrm>
                <a:prstGeom prst="line">
                  <a:avLst/>
                </a:prstGeom>
                <a:ln w="28575">
                  <a:gradFill flip="none" rotWithShape="1">
                    <a:gsLst>
                      <a:gs pos="0">
                        <a:schemeClr val="accent6">
                          <a:lumMod val="75000"/>
                        </a:schemeClr>
                      </a:gs>
                      <a:gs pos="100000">
                        <a:schemeClr val="accent6">
                          <a:lumMod val="75000"/>
                        </a:schemeClr>
                      </a:gs>
                      <a:gs pos="51000">
                        <a:schemeClr val="accent6">
                          <a:lumMod val="75000"/>
                        </a:schemeClr>
                      </a:gs>
                    </a:gsLst>
                    <a:lin ang="16200000" scaled="1"/>
                    <a:tileRect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" name="矩形 7">
                  <a:extLst>
                    <a:ext uri="{FF2B5EF4-FFF2-40B4-BE49-F238E27FC236}">
                      <a16:creationId xmlns:a16="http://schemas.microsoft.com/office/drawing/2014/main" id="{BB2BD640-420F-DF2A-3BEC-D4D12B438093}"/>
                    </a:ext>
                  </a:extLst>
                </p:cNvPr>
                <p:cNvSpPr/>
                <p:nvPr/>
              </p:nvSpPr>
              <p:spPr>
                <a:xfrm>
                  <a:off x="876098" y="2959821"/>
                  <a:ext cx="1247172" cy="232984"/>
                </a:xfrm>
                <a:prstGeom prst="rect">
                  <a:avLst/>
                </a:prstGeom>
                <a:gradFill>
                  <a:gsLst>
                    <a:gs pos="0">
                      <a:schemeClr val="accent6">
                        <a:lumMod val="60000"/>
                        <a:lumOff val="40000"/>
                      </a:schemeClr>
                    </a:gs>
                    <a:gs pos="60000">
                      <a:schemeClr val="accent6">
                        <a:lumMod val="75000"/>
                      </a:schemeClr>
                    </a:gs>
                  </a:gsLst>
                  <a:lin ang="2700000" scaled="0"/>
                </a:gradFill>
                <a:ln w="57150" cap="rnd">
                  <a:noFill/>
                  <a:prstDash val="solid"/>
                  <a:round/>
                </a:ln>
                <a:effectLst>
                  <a:outerShdw blurRad="76200" dist="50800" dir="5400000" algn="ctr" rotWithShape="0">
                    <a:schemeClr val="accent1"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 defTabSz="914309"/>
                  <a:r>
                    <a:rPr lang="en-US" altLang="zh-CN" b="1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  <a:sym typeface="+mn-lt"/>
                    </a:rPr>
                    <a:t>2007</a:t>
                  </a:r>
                  <a:endParaRPr lang="zh-CN" altLang="en-US" b="1" dirty="0">
                    <a:solidFill>
                      <a:prstClr val="white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+mn-lt"/>
                  </a:endParaRPr>
                </a:p>
              </p:txBody>
            </p:sp>
            <p:sp>
              <p:nvSpPr>
                <p:cNvPr id="10" name="文本框 9">
                  <a:extLst>
                    <a:ext uri="{FF2B5EF4-FFF2-40B4-BE49-F238E27FC236}">
                      <a16:creationId xmlns:a16="http://schemas.microsoft.com/office/drawing/2014/main" id="{B2E2AC3D-17D5-7EFE-9CB6-7EE6F33163D9}"/>
                    </a:ext>
                  </a:extLst>
                </p:cNvPr>
                <p:cNvSpPr txBox="1"/>
                <p:nvPr/>
              </p:nvSpPr>
              <p:spPr>
                <a:xfrm>
                  <a:off x="891339" y="3204263"/>
                  <a:ext cx="1251969" cy="32855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zh-CN"/>
                  </a:defPPr>
                  <a:lvl1pPr>
                    <a:lnSpc>
                      <a:spcPct val="120000"/>
                    </a:lnSpc>
                    <a:defRPr sz="1400" b="1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</a:lstStyle>
                <a:p>
                  <a:r>
                    <a:rPr lang="zh-CN" altLang="en-US" dirty="0">
                      <a:latin typeface="Arial" panose="020B0604020202020204" pitchFamily="34" charset="0"/>
                    </a:rPr>
                    <a:t>东莞公司成立</a:t>
                  </a:r>
                </a:p>
              </p:txBody>
            </p:sp>
            <p:grpSp>
              <p:nvGrpSpPr>
                <p:cNvPr id="11" name="组合 10">
                  <a:extLst>
                    <a:ext uri="{FF2B5EF4-FFF2-40B4-BE49-F238E27FC236}">
                      <a16:creationId xmlns:a16="http://schemas.microsoft.com/office/drawing/2014/main" id="{0DFFC5D6-9C4F-3D3C-DFDE-880E9AB90974}"/>
                    </a:ext>
                  </a:extLst>
                </p:cNvPr>
                <p:cNvGrpSpPr/>
                <p:nvPr/>
              </p:nvGrpSpPr>
              <p:grpSpPr>
                <a:xfrm>
                  <a:off x="778741" y="5034680"/>
                  <a:ext cx="225197" cy="231958"/>
                  <a:chOff x="802523" y="5036828"/>
                  <a:chExt cx="151978" cy="151978"/>
                </a:xfrm>
              </p:grpSpPr>
              <p:sp>
                <p:nvSpPr>
                  <p:cNvPr id="14" name="椭圆 13">
                    <a:extLst>
                      <a:ext uri="{FF2B5EF4-FFF2-40B4-BE49-F238E27FC236}">
                        <a16:creationId xmlns:a16="http://schemas.microsoft.com/office/drawing/2014/main" id="{20F8DFB6-6F80-8D2F-C8A6-E55425D74E1D}"/>
                      </a:ext>
                    </a:extLst>
                  </p:cNvPr>
                  <p:cNvSpPr/>
                  <p:nvPr/>
                </p:nvSpPr>
                <p:spPr>
                  <a:xfrm>
                    <a:off x="802523" y="5036828"/>
                    <a:ext cx="151978" cy="151978"/>
                  </a:xfrm>
                  <a:prstGeom prst="ellipse">
                    <a:avLst/>
                  </a:prstGeom>
                  <a:gradFill flip="none" rotWithShape="1">
                    <a:gsLst>
                      <a:gs pos="32000">
                        <a:srgbClr val="FFC000"/>
                      </a:gs>
                      <a:gs pos="100000">
                        <a:schemeClr val="accent2"/>
                      </a:gs>
                    </a:gsLst>
                    <a:path path="circl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09">
                      <a:defRPr/>
                    </a:pPr>
                    <a:endParaRPr lang="zh-CN" altLang="en-US">
                      <a:solidFill>
                        <a:srgbClr val="FFFFFF"/>
                      </a:solidFill>
                      <a:latin typeface="Arial"/>
                      <a:ea typeface="Microsoft YaHei Light"/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5" name="椭圆 14">
                    <a:extLst>
                      <a:ext uri="{FF2B5EF4-FFF2-40B4-BE49-F238E27FC236}">
                        <a16:creationId xmlns:a16="http://schemas.microsoft.com/office/drawing/2014/main" id="{4C1CB37C-044E-B140-BD0C-634DEBF07949}"/>
                      </a:ext>
                    </a:extLst>
                  </p:cNvPr>
                  <p:cNvSpPr/>
                  <p:nvPr/>
                </p:nvSpPr>
                <p:spPr>
                  <a:xfrm>
                    <a:off x="843777" y="5078082"/>
                    <a:ext cx="69471" cy="69471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accent6">
                          <a:lumMod val="75000"/>
                        </a:schemeClr>
                      </a:gs>
                      <a:gs pos="84000">
                        <a:schemeClr val="accent2"/>
                      </a:gs>
                    </a:gsLst>
                    <a:lin ang="27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09">
                      <a:defRPr/>
                    </a:pPr>
                    <a:endParaRPr lang="zh-CN" altLang="en-US">
                      <a:solidFill>
                        <a:srgbClr val="FFFFFF"/>
                      </a:solidFill>
                      <a:latin typeface="Arial"/>
                      <a:ea typeface="Microsoft YaHei Light"/>
                      <a:cs typeface="+mn-ea"/>
                      <a:sym typeface="+mn-lt"/>
                    </a:endParaRPr>
                  </a:p>
                </p:txBody>
              </p:sp>
            </p:grpSp>
          </p:grpSp>
          <p:grpSp>
            <p:nvGrpSpPr>
              <p:cNvPr id="17" name="组合 16">
                <a:extLst>
                  <a:ext uri="{FF2B5EF4-FFF2-40B4-BE49-F238E27FC236}">
                    <a16:creationId xmlns:a16="http://schemas.microsoft.com/office/drawing/2014/main" id="{E47E7FFB-7691-CD3F-7F4C-B41EBDB56DC7}"/>
                  </a:ext>
                </a:extLst>
              </p:cNvPr>
              <p:cNvGrpSpPr/>
              <p:nvPr/>
            </p:nvGrpSpPr>
            <p:grpSpPr>
              <a:xfrm>
                <a:off x="3959067" y="2527442"/>
                <a:ext cx="1364567" cy="2306817"/>
                <a:chOff x="778741" y="2959821"/>
                <a:chExt cx="1364567" cy="2306817"/>
              </a:xfrm>
            </p:grpSpPr>
            <p:cxnSp>
              <p:nvCxnSpPr>
                <p:cNvPr id="18" name="直接连接符 17">
                  <a:extLst>
                    <a:ext uri="{FF2B5EF4-FFF2-40B4-BE49-F238E27FC236}">
                      <a16:creationId xmlns:a16="http://schemas.microsoft.com/office/drawing/2014/main" id="{9E9EB1CF-C283-EE9C-738C-047298C8E08A}"/>
                    </a:ext>
                  </a:extLst>
                </p:cNvPr>
                <p:cNvCxnSpPr>
                  <a:cxnSpLocks/>
                  <a:stCxn id="23" idx="0"/>
                </p:cNvCxnSpPr>
                <p:nvPr/>
              </p:nvCxnSpPr>
              <p:spPr>
                <a:xfrm flipH="1" flipV="1">
                  <a:off x="885710" y="2959821"/>
                  <a:ext cx="5630" cy="2137823"/>
                </a:xfrm>
                <a:prstGeom prst="line">
                  <a:avLst/>
                </a:prstGeom>
                <a:ln w="28575">
                  <a:gradFill flip="none" rotWithShape="1">
                    <a:gsLst>
                      <a:gs pos="0">
                        <a:schemeClr val="accent6">
                          <a:lumMod val="75000"/>
                        </a:schemeClr>
                      </a:gs>
                      <a:gs pos="100000">
                        <a:schemeClr val="accent6">
                          <a:lumMod val="75000"/>
                        </a:schemeClr>
                      </a:gs>
                      <a:gs pos="51000">
                        <a:schemeClr val="accent6">
                          <a:lumMod val="75000"/>
                        </a:schemeClr>
                      </a:gs>
                    </a:gsLst>
                    <a:lin ang="16200000" scaled="1"/>
                    <a:tileRect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" name="矩形 18">
                  <a:extLst>
                    <a:ext uri="{FF2B5EF4-FFF2-40B4-BE49-F238E27FC236}">
                      <a16:creationId xmlns:a16="http://schemas.microsoft.com/office/drawing/2014/main" id="{DC2877BA-5BD4-4D37-5D2D-18DA31AC2387}"/>
                    </a:ext>
                  </a:extLst>
                </p:cNvPr>
                <p:cNvSpPr/>
                <p:nvPr/>
              </p:nvSpPr>
              <p:spPr>
                <a:xfrm>
                  <a:off x="875620" y="2959821"/>
                  <a:ext cx="1247172" cy="232984"/>
                </a:xfrm>
                <a:prstGeom prst="rect">
                  <a:avLst/>
                </a:prstGeom>
                <a:gradFill>
                  <a:gsLst>
                    <a:gs pos="0">
                      <a:schemeClr val="accent6">
                        <a:lumMod val="60000"/>
                        <a:lumOff val="40000"/>
                      </a:schemeClr>
                    </a:gs>
                    <a:gs pos="60000">
                      <a:schemeClr val="accent6">
                        <a:lumMod val="75000"/>
                      </a:schemeClr>
                    </a:gs>
                  </a:gsLst>
                  <a:lin ang="2700000" scaled="0"/>
                </a:gradFill>
                <a:ln w="57150" cap="rnd">
                  <a:noFill/>
                  <a:prstDash val="solid"/>
                  <a:round/>
                </a:ln>
                <a:effectLst>
                  <a:outerShdw blurRad="76200" dist="50800" dir="5400000" algn="ctr" rotWithShape="0">
                    <a:schemeClr val="accent1"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 defTabSz="914309"/>
                  <a:r>
                    <a:rPr lang="en-US" altLang="zh-CN" b="1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  <a:sym typeface="+mn-lt"/>
                    </a:rPr>
                    <a:t>2010</a:t>
                  </a:r>
                  <a:endParaRPr lang="zh-CN" altLang="en-US" b="1" dirty="0">
                    <a:solidFill>
                      <a:prstClr val="white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+mn-lt"/>
                  </a:endParaRPr>
                </a:p>
              </p:txBody>
            </p:sp>
            <p:sp>
              <p:nvSpPr>
                <p:cNvPr id="20" name="文本框 19">
                  <a:extLst>
                    <a:ext uri="{FF2B5EF4-FFF2-40B4-BE49-F238E27FC236}">
                      <a16:creationId xmlns:a16="http://schemas.microsoft.com/office/drawing/2014/main" id="{1A70D044-E164-582C-104C-02F08322009D}"/>
                    </a:ext>
                  </a:extLst>
                </p:cNvPr>
                <p:cNvSpPr txBox="1"/>
                <p:nvPr/>
              </p:nvSpPr>
              <p:spPr>
                <a:xfrm>
                  <a:off x="891339" y="3204263"/>
                  <a:ext cx="1251969" cy="58708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zh-CN"/>
                  </a:defPPr>
                  <a:lvl1pPr>
                    <a:lnSpc>
                      <a:spcPct val="120000"/>
                    </a:lnSpc>
                    <a:defRPr sz="1400" b="1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</a:lstStyle>
                <a:p>
                  <a:r>
                    <a:rPr lang="zh-CN" altLang="en-US" dirty="0">
                      <a:latin typeface="Arial" panose="020B0604020202020204" pitchFamily="34" charset="0"/>
                    </a:rPr>
                    <a:t>安升电子（深圳）有限公司</a:t>
                  </a:r>
                </a:p>
              </p:txBody>
            </p:sp>
            <p:grpSp>
              <p:nvGrpSpPr>
                <p:cNvPr id="21" name="组合 20">
                  <a:extLst>
                    <a:ext uri="{FF2B5EF4-FFF2-40B4-BE49-F238E27FC236}">
                      <a16:creationId xmlns:a16="http://schemas.microsoft.com/office/drawing/2014/main" id="{23AC2B7C-E02B-5770-FC93-28A255A9CC80}"/>
                    </a:ext>
                  </a:extLst>
                </p:cNvPr>
                <p:cNvGrpSpPr/>
                <p:nvPr/>
              </p:nvGrpSpPr>
              <p:grpSpPr>
                <a:xfrm>
                  <a:off x="778741" y="5034680"/>
                  <a:ext cx="225197" cy="231958"/>
                  <a:chOff x="802523" y="5036828"/>
                  <a:chExt cx="151978" cy="151978"/>
                </a:xfrm>
              </p:grpSpPr>
              <p:sp>
                <p:nvSpPr>
                  <p:cNvPr id="22" name="椭圆 21">
                    <a:extLst>
                      <a:ext uri="{FF2B5EF4-FFF2-40B4-BE49-F238E27FC236}">
                        <a16:creationId xmlns:a16="http://schemas.microsoft.com/office/drawing/2014/main" id="{EC9A7474-CA67-81E2-7AED-6B6933305084}"/>
                      </a:ext>
                    </a:extLst>
                  </p:cNvPr>
                  <p:cNvSpPr/>
                  <p:nvPr/>
                </p:nvSpPr>
                <p:spPr>
                  <a:xfrm>
                    <a:off x="802523" y="5036828"/>
                    <a:ext cx="151978" cy="151978"/>
                  </a:xfrm>
                  <a:prstGeom prst="ellipse">
                    <a:avLst/>
                  </a:prstGeom>
                  <a:gradFill flip="none" rotWithShape="1">
                    <a:gsLst>
                      <a:gs pos="32000">
                        <a:srgbClr val="FFC000"/>
                      </a:gs>
                      <a:gs pos="100000">
                        <a:schemeClr val="accent2"/>
                      </a:gs>
                    </a:gsLst>
                    <a:path path="circl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09">
                      <a:defRPr/>
                    </a:pPr>
                    <a:endParaRPr lang="zh-CN" altLang="en-US">
                      <a:solidFill>
                        <a:srgbClr val="FFFFFF"/>
                      </a:solidFill>
                      <a:latin typeface="Arial"/>
                      <a:ea typeface="Microsoft YaHei Light"/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23" name="椭圆 22">
                    <a:extLst>
                      <a:ext uri="{FF2B5EF4-FFF2-40B4-BE49-F238E27FC236}">
                        <a16:creationId xmlns:a16="http://schemas.microsoft.com/office/drawing/2014/main" id="{04B411E2-2306-A343-492F-F8D01D7EA465}"/>
                      </a:ext>
                    </a:extLst>
                  </p:cNvPr>
                  <p:cNvSpPr/>
                  <p:nvPr/>
                </p:nvSpPr>
                <p:spPr>
                  <a:xfrm>
                    <a:off x="843777" y="5078082"/>
                    <a:ext cx="69471" cy="69471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accent6">
                          <a:lumMod val="75000"/>
                        </a:schemeClr>
                      </a:gs>
                      <a:gs pos="84000">
                        <a:schemeClr val="accent2"/>
                      </a:gs>
                    </a:gsLst>
                    <a:lin ang="27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09">
                      <a:defRPr/>
                    </a:pPr>
                    <a:endParaRPr lang="zh-CN" altLang="en-US">
                      <a:solidFill>
                        <a:srgbClr val="FFFFFF"/>
                      </a:solidFill>
                      <a:latin typeface="Arial"/>
                      <a:ea typeface="Microsoft YaHei Light"/>
                      <a:cs typeface="+mn-ea"/>
                      <a:sym typeface="+mn-lt"/>
                    </a:endParaRPr>
                  </a:p>
                </p:txBody>
              </p:sp>
            </p:grpSp>
          </p:grpSp>
          <p:grpSp>
            <p:nvGrpSpPr>
              <p:cNvPr id="24" name="组合 23">
                <a:extLst>
                  <a:ext uri="{FF2B5EF4-FFF2-40B4-BE49-F238E27FC236}">
                    <a16:creationId xmlns:a16="http://schemas.microsoft.com/office/drawing/2014/main" id="{317529FE-7C97-D762-3F3C-A21D9A89450A}"/>
                  </a:ext>
                </a:extLst>
              </p:cNvPr>
              <p:cNvGrpSpPr/>
              <p:nvPr/>
            </p:nvGrpSpPr>
            <p:grpSpPr>
              <a:xfrm>
                <a:off x="5909065" y="2087625"/>
                <a:ext cx="1842325" cy="2310261"/>
                <a:chOff x="1028108" y="2959821"/>
                <a:chExt cx="1842325" cy="2310261"/>
              </a:xfrm>
            </p:grpSpPr>
            <p:cxnSp>
              <p:nvCxnSpPr>
                <p:cNvPr id="25" name="直接连接符 24">
                  <a:extLst>
                    <a:ext uri="{FF2B5EF4-FFF2-40B4-BE49-F238E27FC236}">
                      <a16:creationId xmlns:a16="http://schemas.microsoft.com/office/drawing/2014/main" id="{8EB2D71F-9FEC-045D-C503-F30A7CDE1508}"/>
                    </a:ext>
                  </a:extLst>
                </p:cNvPr>
                <p:cNvCxnSpPr>
                  <a:cxnSpLocks/>
                  <a:stCxn id="30" idx="0"/>
                </p:cNvCxnSpPr>
                <p:nvPr/>
              </p:nvCxnSpPr>
              <p:spPr>
                <a:xfrm flipH="1" flipV="1">
                  <a:off x="1135078" y="2959821"/>
                  <a:ext cx="5630" cy="2137823"/>
                </a:xfrm>
                <a:prstGeom prst="line">
                  <a:avLst/>
                </a:prstGeom>
                <a:ln w="28575">
                  <a:gradFill flip="none" rotWithShape="1">
                    <a:gsLst>
                      <a:gs pos="0">
                        <a:schemeClr val="accent6">
                          <a:lumMod val="75000"/>
                        </a:schemeClr>
                      </a:gs>
                      <a:gs pos="100000">
                        <a:schemeClr val="accent6">
                          <a:lumMod val="75000"/>
                        </a:schemeClr>
                      </a:gs>
                      <a:gs pos="51000">
                        <a:schemeClr val="accent6">
                          <a:lumMod val="75000"/>
                        </a:schemeClr>
                      </a:gs>
                    </a:gsLst>
                    <a:lin ang="16200000" scaled="1"/>
                    <a:tileRect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6" name="矩形 25">
                  <a:extLst>
                    <a:ext uri="{FF2B5EF4-FFF2-40B4-BE49-F238E27FC236}">
                      <a16:creationId xmlns:a16="http://schemas.microsoft.com/office/drawing/2014/main" id="{9DDD2DE0-E597-C93D-3C85-7C4B3E0B43BA}"/>
                    </a:ext>
                  </a:extLst>
                </p:cNvPr>
                <p:cNvSpPr/>
                <p:nvPr/>
              </p:nvSpPr>
              <p:spPr>
                <a:xfrm>
                  <a:off x="1119205" y="2959821"/>
                  <a:ext cx="1247172" cy="232984"/>
                </a:xfrm>
                <a:prstGeom prst="rect">
                  <a:avLst/>
                </a:prstGeom>
                <a:gradFill>
                  <a:gsLst>
                    <a:gs pos="0">
                      <a:schemeClr val="accent6">
                        <a:lumMod val="60000"/>
                        <a:lumOff val="40000"/>
                      </a:schemeClr>
                    </a:gs>
                    <a:gs pos="60000">
                      <a:schemeClr val="accent6">
                        <a:lumMod val="75000"/>
                      </a:schemeClr>
                    </a:gs>
                  </a:gsLst>
                  <a:lin ang="2700000" scaled="0"/>
                </a:gradFill>
                <a:ln w="57150" cap="rnd">
                  <a:noFill/>
                  <a:prstDash val="solid"/>
                  <a:round/>
                </a:ln>
                <a:effectLst>
                  <a:outerShdw blurRad="76200" dist="50800" dir="5400000" algn="ctr" rotWithShape="0">
                    <a:schemeClr val="accent1"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 defTabSz="914309"/>
                  <a:r>
                    <a:rPr lang="en-US" altLang="zh-CN" b="1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  <a:sym typeface="+mn-lt"/>
                    </a:rPr>
                    <a:t>2016</a:t>
                  </a:r>
                  <a:endParaRPr lang="zh-CN" altLang="en-US" b="1" dirty="0">
                    <a:solidFill>
                      <a:prstClr val="white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+mn-lt"/>
                  </a:endParaRPr>
                </a:p>
              </p:txBody>
            </p:sp>
            <p:sp>
              <p:nvSpPr>
                <p:cNvPr id="27" name="文本框 26">
                  <a:extLst>
                    <a:ext uri="{FF2B5EF4-FFF2-40B4-BE49-F238E27FC236}">
                      <a16:creationId xmlns:a16="http://schemas.microsoft.com/office/drawing/2014/main" id="{EE99AAFC-138E-3194-EA77-F77A2D296067}"/>
                    </a:ext>
                  </a:extLst>
                </p:cNvPr>
                <p:cNvSpPr txBox="1"/>
                <p:nvPr/>
              </p:nvSpPr>
              <p:spPr>
                <a:xfrm>
                  <a:off x="1140707" y="3204263"/>
                  <a:ext cx="1729726" cy="587469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zh-CN"/>
                  </a:defPPr>
                  <a:lvl1pPr>
                    <a:lnSpc>
                      <a:spcPct val="120000"/>
                    </a:lnSpc>
                    <a:defRPr sz="1400" b="1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</a:lstStyle>
                <a:p>
                  <a:r>
                    <a:rPr lang="zh-CN" altLang="en-US" dirty="0">
                      <a:latin typeface="Arial" panose="020B0604020202020204" pitchFamily="34" charset="0"/>
                    </a:rPr>
                    <a:t>国巨代理</a:t>
                  </a:r>
                  <a:endParaRPr lang="en-US" altLang="zh-CN" dirty="0">
                    <a:latin typeface="Arial" panose="020B0604020202020204" pitchFamily="34" charset="0"/>
                  </a:endParaRPr>
                </a:p>
                <a:p>
                  <a:r>
                    <a:rPr lang="zh-CN" altLang="en-US" dirty="0">
                      <a:latin typeface="Arial" panose="020B0604020202020204" pitchFamily="34" charset="0"/>
                    </a:rPr>
                    <a:t>整合搬迁到创新谷</a:t>
                  </a:r>
                </a:p>
              </p:txBody>
            </p:sp>
            <p:grpSp>
              <p:nvGrpSpPr>
                <p:cNvPr id="28" name="组合 27">
                  <a:extLst>
                    <a:ext uri="{FF2B5EF4-FFF2-40B4-BE49-F238E27FC236}">
                      <a16:creationId xmlns:a16="http://schemas.microsoft.com/office/drawing/2014/main" id="{F9274ED0-D30F-A191-2D19-8AD6BEBB5C73}"/>
                    </a:ext>
                  </a:extLst>
                </p:cNvPr>
                <p:cNvGrpSpPr/>
                <p:nvPr/>
              </p:nvGrpSpPr>
              <p:grpSpPr>
                <a:xfrm>
                  <a:off x="1028108" y="5038124"/>
                  <a:ext cx="225197" cy="231958"/>
                  <a:chOff x="970812" y="5039085"/>
                  <a:chExt cx="151978" cy="151978"/>
                </a:xfrm>
              </p:grpSpPr>
              <p:sp>
                <p:nvSpPr>
                  <p:cNvPr id="29" name="椭圆 28">
                    <a:extLst>
                      <a:ext uri="{FF2B5EF4-FFF2-40B4-BE49-F238E27FC236}">
                        <a16:creationId xmlns:a16="http://schemas.microsoft.com/office/drawing/2014/main" id="{4EAFC496-BA2A-B43E-E809-DFD0ECBD2991}"/>
                      </a:ext>
                    </a:extLst>
                  </p:cNvPr>
                  <p:cNvSpPr/>
                  <p:nvPr/>
                </p:nvSpPr>
                <p:spPr>
                  <a:xfrm>
                    <a:off x="970812" y="5039085"/>
                    <a:ext cx="151978" cy="151978"/>
                  </a:xfrm>
                  <a:prstGeom prst="ellipse">
                    <a:avLst/>
                  </a:prstGeom>
                  <a:gradFill flip="none" rotWithShape="1">
                    <a:gsLst>
                      <a:gs pos="32000">
                        <a:srgbClr val="FFC000"/>
                      </a:gs>
                      <a:gs pos="100000">
                        <a:schemeClr val="accent2"/>
                      </a:gs>
                    </a:gsLst>
                    <a:path path="circl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09">
                      <a:defRPr/>
                    </a:pPr>
                    <a:endParaRPr lang="zh-CN" altLang="en-US">
                      <a:solidFill>
                        <a:srgbClr val="FFFFFF"/>
                      </a:solidFill>
                      <a:latin typeface="Arial"/>
                      <a:ea typeface="Microsoft YaHei Light"/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30" name="椭圆 29">
                    <a:extLst>
                      <a:ext uri="{FF2B5EF4-FFF2-40B4-BE49-F238E27FC236}">
                        <a16:creationId xmlns:a16="http://schemas.microsoft.com/office/drawing/2014/main" id="{D3F788E2-4F2C-F7C8-9FB5-DD49451C2731}"/>
                      </a:ext>
                    </a:extLst>
                  </p:cNvPr>
                  <p:cNvSpPr/>
                  <p:nvPr/>
                </p:nvSpPr>
                <p:spPr>
                  <a:xfrm>
                    <a:off x="1012067" y="5078082"/>
                    <a:ext cx="69471" cy="69471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accent6">
                          <a:lumMod val="75000"/>
                        </a:schemeClr>
                      </a:gs>
                      <a:gs pos="84000">
                        <a:schemeClr val="accent2"/>
                      </a:gs>
                    </a:gsLst>
                    <a:lin ang="27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09">
                      <a:defRPr/>
                    </a:pPr>
                    <a:endParaRPr lang="zh-CN" altLang="en-US">
                      <a:solidFill>
                        <a:srgbClr val="FFFFFF"/>
                      </a:solidFill>
                      <a:latin typeface="Arial"/>
                      <a:ea typeface="Microsoft YaHei Light"/>
                      <a:cs typeface="+mn-ea"/>
                      <a:sym typeface="+mn-lt"/>
                    </a:endParaRPr>
                  </a:p>
                </p:txBody>
              </p:sp>
            </p:grpSp>
          </p:grpSp>
          <p:grpSp>
            <p:nvGrpSpPr>
              <p:cNvPr id="45" name="组合 44">
                <a:extLst>
                  <a:ext uri="{FF2B5EF4-FFF2-40B4-BE49-F238E27FC236}">
                    <a16:creationId xmlns:a16="http://schemas.microsoft.com/office/drawing/2014/main" id="{14BF2C5B-0994-55DC-9C36-70B2C4571F42}"/>
                  </a:ext>
                </a:extLst>
              </p:cNvPr>
              <p:cNvGrpSpPr/>
              <p:nvPr/>
            </p:nvGrpSpPr>
            <p:grpSpPr>
              <a:xfrm>
                <a:off x="8034124" y="2224481"/>
                <a:ext cx="1339852" cy="2306817"/>
                <a:chOff x="778741" y="2959821"/>
                <a:chExt cx="1339852" cy="2306817"/>
              </a:xfrm>
            </p:grpSpPr>
            <p:cxnSp>
              <p:nvCxnSpPr>
                <p:cNvPr id="46" name="直接连接符 45">
                  <a:extLst>
                    <a:ext uri="{FF2B5EF4-FFF2-40B4-BE49-F238E27FC236}">
                      <a16:creationId xmlns:a16="http://schemas.microsoft.com/office/drawing/2014/main" id="{1B29F9C5-2C0C-7911-9D5A-0050E17649AE}"/>
                    </a:ext>
                  </a:extLst>
                </p:cNvPr>
                <p:cNvCxnSpPr>
                  <a:cxnSpLocks/>
                  <a:stCxn id="51" idx="0"/>
                </p:cNvCxnSpPr>
                <p:nvPr/>
              </p:nvCxnSpPr>
              <p:spPr>
                <a:xfrm flipH="1" flipV="1">
                  <a:off x="885710" y="2959821"/>
                  <a:ext cx="5630" cy="2137823"/>
                </a:xfrm>
                <a:prstGeom prst="line">
                  <a:avLst/>
                </a:prstGeom>
                <a:ln w="28575">
                  <a:gradFill flip="none" rotWithShape="1">
                    <a:gsLst>
                      <a:gs pos="0">
                        <a:schemeClr val="accent6">
                          <a:lumMod val="75000"/>
                        </a:schemeClr>
                      </a:gs>
                      <a:gs pos="100000">
                        <a:schemeClr val="accent6">
                          <a:lumMod val="75000"/>
                        </a:schemeClr>
                      </a:gs>
                      <a:gs pos="51000">
                        <a:schemeClr val="accent6">
                          <a:lumMod val="75000"/>
                        </a:schemeClr>
                      </a:gs>
                    </a:gsLst>
                    <a:lin ang="16200000" scaled="1"/>
                    <a:tileRect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7" name="矩形 46">
                  <a:extLst>
                    <a:ext uri="{FF2B5EF4-FFF2-40B4-BE49-F238E27FC236}">
                      <a16:creationId xmlns:a16="http://schemas.microsoft.com/office/drawing/2014/main" id="{24FF20A0-E16F-8445-CD5A-72DB79111B59}"/>
                    </a:ext>
                  </a:extLst>
                </p:cNvPr>
                <p:cNvSpPr/>
                <p:nvPr/>
              </p:nvSpPr>
              <p:spPr>
                <a:xfrm>
                  <a:off x="871421" y="2959821"/>
                  <a:ext cx="1247172" cy="232984"/>
                </a:xfrm>
                <a:prstGeom prst="rect">
                  <a:avLst/>
                </a:prstGeom>
                <a:gradFill>
                  <a:gsLst>
                    <a:gs pos="0">
                      <a:schemeClr val="accent6">
                        <a:lumMod val="60000"/>
                        <a:lumOff val="40000"/>
                      </a:schemeClr>
                    </a:gs>
                    <a:gs pos="60000">
                      <a:schemeClr val="accent6">
                        <a:lumMod val="75000"/>
                      </a:schemeClr>
                    </a:gs>
                  </a:gsLst>
                  <a:lin ang="2700000" scaled="0"/>
                </a:gradFill>
                <a:ln w="57150" cap="rnd">
                  <a:noFill/>
                  <a:prstDash val="solid"/>
                  <a:round/>
                </a:ln>
                <a:effectLst>
                  <a:outerShdw blurRad="76200" dist="50800" dir="5400000" algn="ctr" rotWithShape="0">
                    <a:schemeClr val="accent1"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 defTabSz="914309"/>
                  <a:r>
                    <a:rPr lang="en-US" altLang="zh-CN" b="1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  <a:sym typeface="+mn-lt"/>
                    </a:rPr>
                    <a:t>2022</a:t>
                  </a:r>
                  <a:endParaRPr lang="zh-CN" altLang="en-US" b="1" dirty="0">
                    <a:solidFill>
                      <a:prstClr val="white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+mn-lt"/>
                  </a:endParaRPr>
                </a:p>
              </p:txBody>
            </p:sp>
            <p:sp>
              <p:nvSpPr>
                <p:cNvPr id="48" name="文本框 47">
                  <a:extLst>
                    <a:ext uri="{FF2B5EF4-FFF2-40B4-BE49-F238E27FC236}">
                      <a16:creationId xmlns:a16="http://schemas.microsoft.com/office/drawing/2014/main" id="{7348C9C3-BDD5-56B7-D085-4A0DA14D24FC}"/>
                    </a:ext>
                  </a:extLst>
                </p:cNvPr>
                <p:cNvSpPr txBox="1"/>
                <p:nvPr/>
              </p:nvSpPr>
              <p:spPr>
                <a:xfrm>
                  <a:off x="839870" y="3208521"/>
                  <a:ext cx="1251969" cy="32855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zh-CN"/>
                  </a:defPPr>
                  <a:lvl1pPr>
                    <a:lnSpc>
                      <a:spcPct val="120000"/>
                    </a:lnSpc>
                    <a:defRPr sz="1400" b="1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</a:lstStyle>
                <a:p>
                  <a:r>
                    <a:rPr lang="zh-CN" altLang="en-US" dirty="0">
                      <a:latin typeface="Arial" panose="020B0604020202020204" pitchFamily="34" charset="0"/>
                    </a:rPr>
                    <a:t>成都分公司</a:t>
                  </a:r>
                </a:p>
              </p:txBody>
            </p:sp>
            <p:grpSp>
              <p:nvGrpSpPr>
                <p:cNvPr id="49" name="组合 48">
                  <a:extLst>
                    <a:ext uri="{FF2B5EF4-FFF2-40B4-BE49-F238E27FC236}">
                      <a16:creationId xmlns:a16="http://schemas.microsoft.com/office/drawing/2014/main" id="{AB7FCC86-C30A-5913-0183-460D011852D9}"/>
                    </a:ext>
                  </a:extLst>
                </p:cNvPr>
                <p:cNvGrpSpPr/>
                <p:nvPr/>
              </p:nvGrpSpPr>
              <p:grpSpPr>
                <a:xfrm>
                  <a:off x="778741" y="5034680"/>
                  <a:ext cx="225197" cy="231958"/>
                  <a:chOff x="802523" y="5036828"/>
                  <a:chExt cx="151978" cy="151978"/>
                </a:xfrm>
              </p:grpSpPr>
              <p:sp>
                <p:nvSpPr>
                  <p:cNvPr id="50" name="椭圆 49">
                    <a:extLst>
                      <a:ext uri="{FF2B5EF4-FFF2-40B4-BE49-F238E27FC236}">
                        <a16:creationId xmlns:a16="http://schemas.microsoft.com/office/drawing/2014/main" id="{EDD1E778-63C9-BBA2-1673-35D8D1F21C5D}"/>
                      </a:ext>
                    </a:extLst>
                  </p:cNvPr>
                  <p:cNvSpPr/>
                  <p:nvPr/>
                </p:nvSpPr>
                <p:spPr>
                  <a:xfrm>
                    <a:off x="802523" y="5036828"/>
                    <a:ext cx="151978" cy="151978"/>
                  </a:xfrm>
                  <a:prstGeom prst="ellipse">
                    <a:avLst/>
                  </a:prstGeom>
                  <a:gradFill flip="none" rotWithShape="1">
                    <a:gsLst>
                      <a:gs pos="32000">
                        <a:srgbClr val="FFC000"/>
                      </a:gs>
                      <a:gs pos="100000">
                        <a:schemeClr val="accent2"/>
                      </a:gs>
                    </a:gsLst>
                    <a:path path="circl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09">
                      <a:defRPr/>
                    </a:pPr>
                    <a:endParaRPr lang="zh-CN" altLang="en-US">
                      <a:solidFill>
                        <a:srgbClr val="FFFFFF"/>
                      </a:solidFill>
                      <a:latin typeface="Arial"/>
                      <a:ea typeface="Microsoft YaHei Light"/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51" name="椭圆 50">
                    <a:extLst>
                      <a:ext uri="{FF2B5EF4-FFF2-40B4-BE49-F238E27FC236}">
                        <a16:creationId xmlns:a16="http://schemas.microsoft.com/office/drawing/2014/main" id="{89092152-4D23-879E-EB1F-5EDEFEE62F66}"/>
                      </a:ext>
                    </a:extLst>
                  </p:cNvPr>
                  <p:cNvSpPr/>
                  <p:nvPr/>
                </p:nvSpPr>
                <p:spPr>
                  <a:xfrm>
                    <a:off x="843777" y="5078082"/>
                    <a:ext cx="69471" cy="69471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accent6">
                          <a:lumMod val="75000"/>
                        </a:schemeClr>
                      </a:gs>
                      <a:gs pos="84000">
                        <a:schemeClr val="accent2"/>
                      </a:gs>
                    </a:gsLst>
                    <a:lin ang="27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09">
                      <a:defRPr/>
                    </a:pPr>
                    <a:endParaRPr lang="zh-CN" altLang="en-US">
                      <a:solidFill>
                        <a:srgbClr val="FFFFFF"/>
                      </a:solidFill>
                      <a:latin typeface="Arial"/>
                      <a:ea typeface="Microsoft YaHei Light"/>
                      <a:cs typeface="+mn-ea"/>
                      <a:sym typeface="+mn-lt"/>
                    </a:endParaRPr>
                  </a:p>
                </p:txBody>
              </p:sp>
            </p:grpSp>
          </p:grpSp>
          <p:grpSp>
            <p:nvGrpSpPr>
              <p:cNvPr id="16" name="组合 15">
                <a:extLst>
                  <a:ext uri="{FF2B5EF4-FFF2-40B4-BE49-F238E27FC236}">
                    <a16:creationId xmlns:a16="http://schemas.microsoft.com/office/drawing/2014/main" id="{855C19AB-229C-9D5F-23C7-BA8A149854C6}"/>
                  </a:ext>
                </a:extLst>
              </p:cNvPr>
              <p:cNvGrpSpPr/>
              <p:nvPr/>
            </p:nvGrpSpPr>
            <p:grpSpPr>
              <a:xfrm>
                <a:off x="10248307" y="2068853"/>
                <a:ext cx="1342543" cy="2311845"/>
                <a:chOff x="778741" y="2954793"/>
                <a:chExt cx="1342543" cy="2311845"/>
              </a:xfrm>
            </p:grpSpPr>
            <p:cxnSp>
              <p:nvCxnSpPr>
                <p:cNvPr id="52" name="直接连接符 51">
                  <a:extLst>
                    <a:ext uri="{FF2B5EF4-FFF2-40B4-BE49-F238E27FC236}">
                      <a16:creationId xmlns:a16="http://schemas.microsoft.com/office/drawing/2014/main" id="{1F3C2B6C-DF7C-86E5-06CC-14B01DD927F3}"/>
                    </a:ext>
                  </a:extLst>
                </p:cNvPr>
                <p:cNvCxnSpPr>
                  <a:cxnSpLocks/>
                  <a:stCxn id="58" idx="0"/>
                </p:cNvCxnSpPr>
                <p:nvPr/>
              </p:nvCxnSpPr>
              <p:spPr>
                <a:xfrm flipH="1" flipV="1">
                  <a:off x="885710" y="2959821"/>
                  <a:ext cx="5630" cy="2137823"/>
                </a:xfrm>
                <a:prstGeom prst="line">
                  <a:avLst/>
                </a:prstGeom>
                <a:ln w="28575">
                  <a:gradFill flip="none" rotWithShape="1">
                    <a:gsLst>
                      <a:gs pos="0">
                        <a:schemeClr val="accent6">
                          <a:lumMod val="75000"/>
                        </a:schemeClr>
                      </a:gs>
                      <a:gs pos="100000">
                        <a:schemeClr val="accent6">
                          <a:lumMod val="75000"/>
                        </a:schemeClr>
                      </a:gs>
                      <a:gs pos="51000">
                        <a:schemeClr val="accent6">
                          <a:lumMod val="75000"/>
                        </a:schemeClr>
                      </a:gs>
                    </a:gsLst>
                    <a:lin ang="16200000" scaled="1"/>
                    <a:tileRect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3" name="矩形 52">
                  <a:extLst>
                    <a:ext uri="{FF2B5EF4-FFF2-40B4-BE49-F238E27FC236}">
                      <a16:creationId xmlns:a16="http://schemas.microsoft.com/office/drawing/2014/main" id="{41A5DF8F-184B-1D0E-5219-065A514BC28B}"/>
                    </a:ext>
                  </a:extLst>
                </p:cNvPr>
                <p:cNvSpPr/>
                <p:nvPr/>
              </p:nvSpPr>
              <p:spPr>
                <a:xfrm>
                  <a:off x="874112" y="2954793"/>
                  <a:ext cx="1247172" cy="232984"/>
                </a:xfrm>
                <a:prstGeom prst="rect">
                  <a:avLst/>
                </a:prstGeom>
                <a:gradFill>
                  <a:gsLst>
                    <a:gs pos="0">
                      <a:schemeClr val="accent6">
                        <a:lumMod val="60000"/>
                        <a:lumOff val="40000"/>
                      </a:schemeClr>
                    </a:gs>
                    <a:gs pos="60000">
                      <a:schemeClr val="accent6">
                        <a:lumMod val="75000"/>
                      </a:schemeClr>
                    </a:gs>
                  </a:gsLst>
                  <a:lin ang="2700000" scaled="0"/>
                </a:gradFill>
                <a:ln w="57150" cap="rnd">
                  <a:noFill/>
                  <a:prstDash val="solid"/>
                  <a:round/>
                </a:ln>
                <a:effectLst>
                  <a:outerShdw blurRad="76200" dist="50800" dir="5400000" algn="ctr" rotWithShape="0">
                    <a:schemeClr val="accent1">
                      <a:alpha val="2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 defTabSz="914309"/>
                  <a:r>
                    <a:rPr lang="en-US" altLang="zh-CN" b="1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  <a:cs typeface="Arial" panose="020B0604020202020204" pitchFamily="34" charset="0"/>
                      <a:sym typeface="+mn-lt"/>
                    </a:rPr>
                    <a:t>2024</a:t>
                  </a:r>
                  <a:endParaRPr lang="zh-CN" altLang="en-US" b="1" dirty="0">
                    <a:solidFill>
                      <a:prstClr val="white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Arial" panose="020B0604020202020204" pitchFamily="34" charset="0"/>
                    <a:sym typeface="+mn-lt"/>
                  </a:endParaRPr>
                </a:p>
              </p:txBody>
            </p:sp>
            <p:sp>
              <p:nvSpPr>
                <p:cNvPr id="55" name="文本框 54">
                  <a:extLst>
                    <a:ext uri="{FF2B5EF4-FFF2-40B4-BE49-F238E27FC236}">
                      <a16:creationId xmlns:a16="http://schemas.microsoft.com/office/drawing/2014/main" id="{7545EED4-BFEA-1696-C691-C4CE3705AB67}"/>
                    </a:ext>
                  </a:extLst>
                </p:cNvPr>
                <p:cNvSpPr txBox="1"/>
                <p:nvPr/>
              </p:nvSpPr>
              <p:spPr>
                <a:xfrm>
                  <a:off x="839870" y="3229476"/>
                  <a:ext cx="1251969" cy="58708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zh-CN"/>
                  </a:defPPr>
                  <a:lvl1pPr>
                    <a:lnSpc>
                      <a:spcPct val="120000"/>
                    </a:lnSpc>
                    <a:defRPr sz="1400" b="1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defRPr>
                  </a:lvl1pPr>
                </a:lstStyle>
                <a:p>
                  <a:r>
                    <a:rPr lang="zh-CN" altLang="en-US" dirty="0">
                      <a:latin typeface="Arial" panose="020B0604020202020204" pitchFamily="34" charset="0"/>
                    </a:rPr>
                    <a:t>华东、华北、华中办事处</a:t>
                  </a:r>
                </a:p>
              </p:txBody>
            </p:sp>
            <p:grpSp>
              <p:nvGrpSpPr>
                <p:cNvPr id="56" name="组合 55">
                  <a:extLst>
                    <a:ext uri="{FF2B5EF4-FFF2-40B4-BE49-F238E27FC236}">
                      <a16:creationId xmlns:a16="http://schemas.microsoft.com/office/drawing/2014/main" id="{A39D905A-AA1E-931A-F26E-25013B6AB8FD}"/>
                    </a:ext>
                  </a:extLst>
                </p:cNvPr>
                <p:cNvGrpSpPr/>
                <p:nvPr/>
              </p:nvGrpSpPr>
              <p:grpSpPr>
                <a:xfrm>
                  <a:off x="778741" y="5034680"/>
                  <a:ext cx="225197" cy="231958"/>
                  <a:chOff x="802523" y="5036828"/>
                  <a:chExt cx="151978" cy="151978"/>
                </a:xfrm>
              </p:grpSpPr>
              <p:sp>
                <p:nvSpPr>
                  <p:cNvPr id="57" name="椭圆 56">
                    <a:extLst>
                      <a:ext uri="{FF2B5EF4-FFF2-40B4-BE49-F238E27FC236}">
                        <a16:creationId xmlns:a16="http://schemas.microsoft.com/office/drawing/2014/main" id="{C1F45F9A-59EC-957C-64D8-185371D497B1}"/>
                      </a:ext>
                    </a:extLst>
                  </p:cNvPr>
                  <p:cNvSpPr/>
                  <p:nvPr/>
                </p:nvSpPr>
                <p:spPr>
                  <a:xfrm>
                    <a:off x="802523" y="5036828"/>
                    <a:ext cx="151978" cy="151978"/>
                  </a:xfrm>
                  <a:prstGeom prst="ellipse">
                    <a:avLst/>
                  </a:prstGeom>
                  <a:gradFill flip="none" rotWithShape="1">
                    <a:gsLst>
                      <a:gs pos="32000">
                        <a:srgbClr val="FFC000"/>
                      </a:gs>
                      <a:gs pos="100000">
                        <a:schemeClr val="accent2"/>
                      </a:gs>
                    </a:gsLst>
                    <a:path path="circl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09">
                      <a:defRPr/>
                    </a:pPr>
                    <a:endParaRPr lang="zh-CN" altLang="en-US">
                      <a:solidFill>
                        <a:srgbClr val="FFFFFF"/>
                      </a:solidFill>
                      <a:latin typeface="Arial"/>
                      <a:ea typeface="Microsoft YaHei Light"/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58" name="椭圆 57">
                    <a:extLst>
                      <a:ext uri="{FF2B5EF4-FFF2-40B4-BE49-F238E27FC236}">
                        <a16:creationId xmlns:a16="http://schemas.microsoft.com/office/drawing/2014/main" id="{F243969B-E48F-2DE9-EE69-6FD3D3E31D02}"/>
                      </a:ext>
                    </a:extLst>
                  </p:cNvPr>
                  <p:cNvSpPr/>
                  <p:nvPr/>
                </p:nvSpPr>
                <p:spPr>
                  <a:xfrm>
                    <a:off x="843777" y="5078082"/>
                    <a:ext cx="69471" cy="69471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accent6">
                          <a:lumMod val="75000"/>
                        </a:schemeClr>
                      </a:gs>
                      <a:gs pos="84000">
                        <a:schemeClr val="accent2"/>
                      </a:gs>
                    </a:gsLst>
                    <a:lin ang="2700000" scaled="1"/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09">
                      <a:defRPr/>
                    </a:pPr>
                    <a:endParaRPr lang="zh-CN" altLang="en-US">
                      <a:solidFill>
                        <a:srgbClr val="FFFFFF"/>
                      </a:solidFill>
                      <a:latin typeface="Arial"/>
                      <a:ea typeface="Microsoft YaHei Light"/>
                      <a:cs typeface="+mn-ea"/>
                      <a:sym typeface="+mn-lt"/>
                    </a:endParaRPr>
                  </a:p>
                </p:txBody>
              </p:sp>
            </p:grpSp>
          </p:grpSp>
        </p:grpSp>
      </p:grpSp>
    </p:spTree>
    <p:extLst>
      <p:ext uri="{BB962C8B-B14F-4D97-AF65-F5344CB8AC3E}">
        <p14:creationId xmlns:p14="http://schemas.microsoft.com/office/powerpoint/2010/main" val="42782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文本框 1"/>
          <p:cNvSpPr>
            <a:spLocks noChangeArrowheads="1"/>
          </p:cNvSpPr>
          <p:nvPr/>
        </p:nvSpPr>
        <p:spPr bwMode="auto">
          <a:xfrm>
            <a:off x="5015086" y="404858"/>
            <a:ext cx="21666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6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组织架构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75939035-20F5-0EFD-914C-2FC666A36B7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0590" y="1051189"/>
            <a:ext cx="11089232" cy="556391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框 1"/>
          <p:cNvSpPr>
            <a:spLocks noChangeArrowheads="1"/>
          </p:cNvSpPr>
          <p:nvPr/>
        </p:nvSpPr>
        <p:spPr bwMode="auto">
          <a:xfrm>
            <a:off x="5011316" y="404858"/>
            <a:ext cx="21666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6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经营业绩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1FC05860-4E03-D09A-D180-78E063CF3ED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58130" y="1340768"/>
            <a:ext cx="9073008" cy="489901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文本框 1"/>
          <p:cNvSpPr>
            <a:spLocks noChangeArrowheads="1"/>
          </p:cNvSpPr>
          <p:nvPr/>
        </p:nvSpPr>
        <p:spPr bwMode="auto">
          <a:xfrm>
            <a:off x="4992901" y="404858"/>
            <a:ext cx="21666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6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主营产品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EB1C69B2-12AD-5B75-CA7D-48DC2553D33C}"/>
              </a:ext>
            </a:extLst>
          </p:cNvPr>
          <p:cNvGrpSpPr/>
          <p:nvPr/>
        </p:nvGrpSpPr>
        <p:grpSpPr>
          <a:xfrm>
            <a:off x="376387" y="1294423"/>
            <a:ext cx="11125556" cy="4593520"/>
            <a:chOff x="376387" y="1294423"/>
            <a:chExt cx="11125556" cy="4593520"/>
          </a:xfrm>
        </p:grpSpPr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267AE12B-2DEC-C599-C612-718003735F7E}"/>
                </a:ext>
              </a:extLst>
            </p:cNvPr>
            <p:cNvGrpSpPr/>
            <p:nvPr/>
          </p:nvGrpSpPr>
          <p:grpSpPr>
            <a:xfrm>
              <a:off x="4789090" y="2326058"/>
              <a:ext cx="2612232" cy="2612232"/>
              <a:chOff x="4789714" y="2122714"/>
              <a:chExt cx="2612572" cy="2612572"/>
            </a:xfrm>
          </p:grpSpPr>
          <p:sp>
            <p:nvSpPr>
              <p:cNvPr id="50" name="椭圆 49">
                <a:extLst>
                  <a:ext uri="{FF2B5EF4-FFF2-40B4-BE49-F238E27FC236}">
                    <a16:creationId xmlns:a16="http://schemas.microsoft.com/office/drawing/2014/main" id="{0E0D54A2-B427-DCE2-D6DB-1524F5DFD18F}"/>
                  </a:ext>
                </a:extLst>
              </p:cNvPr>
              <p:cNvSpPr/>
              <p:nvPr/>
            </p:nvSpPr>
            <p:spPr>
              <a:xfrm>
                <a:off x="4789714" y="2122714"/>
                <a:ext cx="2612572" cy="26125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zh-CN" sz="1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文本框 51">
                <a:extLst>
                  <a:ext uri="{FF2B5EF4-FFF2-40B4-BE49-F238E27FC236}">
                    <a16:creationId xmlns:a16="http://schemas.microsoft.com/office/drawing/2014/main" id="{063FCE63-BCCA-786A-8AD1-C214853841CE}"/>
                  </a:ext>
                </a:extLst>
              </p:cNvPr>
              <p:cNvSpPr txBox="1"/>
              <p:nvPr/>
            </p:nvSpPr>
            <p:spPr>
              <a:xfrm>
                <a:off x="4995881" y="3102387"/>
                <a:ext cx="2176846" cy="6464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36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被动器件</a:t>
                </a:r>
                <a:endParaRPr lang="en-US" altLang="zh-CN" sz="3600" b="1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83" name="组合 82">
              <a:extLst>
                <a:ext uri="{FF2B5EF4-FFF2-40B4-BE49-F238E27FC236}">
                  <a16:creationId xmlns:a16="http://schemas.microsoft.com/office/drawing/2014/main" id="{08A6195B-B908-B881-81EC-31A18A060BB1}"/>
                </a:ext>
              </a:extLst>
            </p:cNvPr>
            <p:cNvGrpSpPr/>
            <p:nvPr/>
          </p:nvGrpSpPr>
          <p:grpSpPr>
            <a:xfrm>
              <a:off x="660313" y="1294423"/>
              <a:ext cx="3496668" cy="1360886"/>
              <a:chOff x="660313" y="1294423"/>
              <a:chExt cx="3496668" cy="1360886"/>
            </a:xfrm>
          </p:grpSpPr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909C7B27-3280-6436-0132-8C84A4248F56}"/>
                  </a:ext>
                </a:extLst>
              </p:cNvPr>
              <p:cNvSpPr/>
              <p:nvPr/>
            </p:nvSpPr>
            <p:spPr>
              <a:xfrm>
                <a:off x="660313" y="1376403"/>
                <a:ext cx="3496668" cy="1278905"/>
              </a:xfrm>
              <a:custGeom>
                <a:avLst/>
                <a:gdLst>
                  <a:gd name="connsiteX0" fmla="*/ 639536 w 3497122"/>
                  <a:gd name="connsiteY0" fmla="*/ 0 h 1279072"/>
                  <a:gd name="connsiteX1" fmla="*/ 645294 w 3497122"/>
                  <a:gd name="connsiteY1" fmla="*/ 581 h 1279072"/>
                  <a:gd name="connsiteX2" fmla="*/ 645294 w 3497122"/>
                  <a:gd name="connsiteY2" fmla="*/ 1 h 1279072"/>
                  <a:gd name="connsiteX3" fmla="*/ 3497122 w 3497122"/>
                  <a:gd name="connsiteY3" fmla="*/ 1 h 1279072"/>
                  <a:gd name="connsiteX4" fmla="*/ 3497122 w 3497122"/>
                  <a:gd name="connsiteY4" fmla="*/ 1279072 h 1279072"/>
                  <a:gd name="connsiteX5" fmla="*/ 645294 w 3497122"/>
                  <a:gd name="connsiteY5" fmla="*/ 1279072 h 1279072"/>
                  <a:gd name="connsiteX6" fmla="*/ 645294 w 3497122"/>
                  <a:gd name="connsiteY6" fmla="*/ 1278492 h 1279072"/>
                  <a:gd name="connsiteX7" fmla="*/ 639536 w 3497122"/>
                  <a:gd name="connsiteY7" fmla="*/ 1279072 h 1279072"/>
                  <a:gd name="connsiteX8" fmla="*/ 0 w 3497122"/>
                  <a:gd name="connsiteY8" fmla="*/ 639536 h 1279072"/>
                  <a:gd name="connsiteX9" fmla="*/ 639536 w 3497122"/>
                  <a:gd name="connsiteY9" fmla="*/ 0 h 1279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97122" h="1279072">
                    <a:moveTo>
                      <a:pt x="639536" y="0"/>
                    </a:moveTo>
                    <a:lnTo>
                      <a:pt x="645294" y="581"/>
                    </a:lnTo>
                    <a:lnTo>
                      <a:pt x="645294" y="1"/>
                    </a:lnTo>
                    <a:lnTo>
                      <a:pt x="3497122" y="1"/>
                    </a:lnTo>
                    <a:lnTo>
                      <a:pt x="3497122" y="1279072"/>
                    </a:lnTo>
                    <a:lnTo>
                      <a:pt x="645294" y="1279072"/>
                    </a:lnTo>
                    <a:lnTo>
                      <a:pt x="645294" y="1278492"/>
                    </a:lnTo>
                    <a:lnTo>
                      <a:pt x="639536" y="1279072"/>
                    </a:lnTo>
                    <a:cubicBezTo>
                      <a:pt x="286330" y="1279072"/>
                      <a:pt x="0" y="992742"/>
                      <a:pt x="0" y="639536"/>
                    </a:cubicBezTo>
                    <a:cubicBezTo>
                      <a:pt x="0" y="286330"/>
                      <a:pt x="286330" y="0"/>
                      <a:pt x="639536" y="0"/>
                    </a:cubicBezTo>
                    <a:close/>
                  </a:path>
                </a:pathLst>
              </a:custGeom>
              <a:noFill/>
              <a:ln>
                <a:solidFill>
                  <a:srgbClr val="4F81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algn="ctr"/>
                <a:endParaRPr lang="zh-CN" altLang="en-US" sz="1400" b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62" name="图片 61">
                <a:extLst>
                  <a:ext uri="{FF2B5EF4-FFF2-40B4-BE49-F238E27FC236}">
                    <a16:creationId xmlns:a16="http://schemas.microsoft.com/office/drawing/2014/main" id="{41558969-C792-54E0-B05C-8084CDF554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31683" y="1436191"/>
                <a:ext cx="1833260" cy="1219118"/>
              </a:xfrm>
              <a:prstGeom prst="rect">
                <a:avLst/>
              </a:prstGeom>
            </p:spPr>
          </p:pic>
          <p:pic>
            <p:nvPicPr>
              <p:cNvPr id="64" name="图片 63">
                <a:extLst>
                  <a:ext uri="{FF2B5EF4-FFF2-40B4-BE49-F238E27FC236}">
                    <a16:creationId xmlns:a16="http://schemas.microsoft.com/office/drawing/2014/main" id="{5B75062F-559A-1364-D29C-43FC9DB255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53062" y="1294423"/>
                <a:ext cx="1241454" cy="1360885"/>
              </a:xfrm>
              <a:prstGeom prst="rect">
                <a:avLst/>
              </a:prstGeom>
            </p:spPr>
          </p:pic>
        </p:grpSp>
        <p:grpSp>
          <p:nvGrpSpPr>
            <p:cNvPr id="86" name="组合 85">
              <a:extLst>
                <a:ext uri="{FF2B5EF4-FFF2-40B4-BE49-F238E27FC236}">
                  <a16:creationId xmlns:a16="http://schemas.microsoft.com/office/drawing/2014/main" id="{F227BEA1-01FC-1AA8-16E6-C2FACAF5567A}"/>
                </a:ext>
              </a:extLst>
            </p:cNvPr>
            <p:cNvGrpSpPr/>
            <p:nvPr/>
          </p:nvGrpSpPr>
          <p:grpSpPr>
            <a:xfrm>
              <a:off x="7884197" y="1376404"/>
              <a:ext cx="3617746" cy="1278905"/>
              <a:chOff x="7884197" y="1376404"/>
              <a:chExt cx="3617746" cy="1278905"/>
            </a:xfrm>
          </p:grpSpPr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id="{4531F332-6DBC-83DA-8412-FD0FE776225B}"/>
                  </a:ext>
                </a:extLst>
              </p:cNvPr>
              <p:cNvSpPr/>
              <p:nvPr/>
            </p:nvSpPr>
            <p:spPr>
              <a:xfrm flipH="1">
                <a:off x="8005276" y="1376404"/>
                <a:ext cx="3496667" cy="1278905"/>
              </a:xfrm>
              <a:custGeom>
                <a:avLst/>
                <a:gdLst>
                  <a:gd name="connsiteX0" fmla="*/ 639536 w 3497122"/>
                  <a:gd name="connsiteY0" fmla="*/ 0 h 1279072"/>
                  <a:gd name="connsiteX1" fmla="*/ 645294 w 3497122"/>
                  <a:gd name="connsiteY1" fmla="*/ 581 h 1279072"/>
                  <a:gd name="connsiteX2" fmla="*/ 645294 w 3497122"/>
                  <a:gd name="connsiteY2" fmla="*/ 1 h 1279072"/>
                  <a:gd name="connsiteX3" fmla="*/ 3497122 w 3497122"/>
                  <a:gd name="connsiteY3" fmla="*/ 1 h 1279072"/>
                  <a:gd name="connsiteX4" fmla="*/ 3497122 w 3497122"/>
                  <a:gd name="connsiteY4" fmla="*/ 1279072 h 1279072"/>
                  <a:gd name="connsiteX5" fmla="*/ 645294 w 3497122"/>
                  <a:gd name="connsiteY5" fmla="*/ 1279072 h 1279072"/>
                  <a:gd name="connsiteX6" fmla="*/ 645294 w 3497122"/>
                  <a:gd name="connsiteY6" fmla="*/ 1278492 h 1279072"/>
                  <a:gd name="connsiteX7" fmla="*/ 639536 w 3497122"/>
                  <a:gd name="connsiteY7" fmla="*/ 1279072 h 1279072"/>
                  <a:gd name="connsiteX8" fmla="*/ 0 w 3497122"/>
                  <a:gd name="connsiteY8" fmla="*/ 639536 h 1279072"/>
                  <a:gd name="connsiteX9" fmla="*/ 639536 w 3497122"/>
                  <a:gd name="connsiteY9" fmla="*/ 0 h 1279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97122" h="1279072">
                    <a:moveTo>
                      <a:pt x="639536" y="0"/>
                    </a:moveTo>
                    <a:lnTo>
                      <a:pt x="645294" y="581"/>
                    </a:lnTo>
                    <a:lnTo>
                      <a:pt x="645294" y="1"/>
                    </a:lnTo>
                    <a:lnTo>
                      <a:pt x="3497122" y="1"/>
                    </a:lnTo>
                    <a:lnTo>
                      <a:pt x="3497122" y="1279072"/>
                    </a:lnTo>
                    <a:lnTo>
                      <a:pt x="645294" y="1279072"/>
                    </a:lnTo>
                    <a:lnTo>
                      <a:pt x="645294" y="1278492"/>
                    </a:lnTo>
                    <a:lnTo>
                      <a:pt x="639536" y="1279072"/>
                    </a:lnTo>
                    <a:cubicBezTo>
                      <a:pt x="286330" y="1279072"/>
                      <a:pt x="0" y="992742"/>
                      <a:pt x="0" y="639536"/>
                    </a:cubicBezTo>
                    <a:cubicBezTo>
                      <a:pt x="0" y="286330"/>
                      <a:pt x="286330" y="0"/>
                      <a:pt x="639536" y="0"/>
                    </a:cubicBezTo>
                    <a:close/>
                  </a:path>
                </a:pathLst>
              </a:custGeom>
              <a:noFill/>
              <a:ln>
                <a:solidFill>
                  <a:srgbClr val="4F81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algn="ctr"/>
                <a:endParaRPr lang="zh-CN" altLang="en-US" sz="1400" b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72" name="图片 71">
                <a:extLst>
                  <a:ext uri="{FF2B5EF4-FFF2-40B4-BE49-F238E27FC236}">
                    <a16:creationId xmlns:a16="http://schemas.microsoft.com/office/drawing/2014/main" id="{4F7365F2-F561-9031-7D29-4EE0F3A84D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164138" y="1414467"/>
                <a:ext cx="1185339" cy="1185339"/>
              </a:xfrm>
              <a:prstGeom prst="rect">
                <a:avLst/>
              </a:prstGeom>
            </p:spPr>
          </p:pic>
          <p:pic>
            <p:nvPicPr>
              <p:cNvPr id="74" name="图片 73">
                <a:extLst>
                  <a:ext uri="{FF2B5EF4-FFF2-40B4-BE49-F238E27FC236}">
                    <a16:creationId xmlns:a16="http://schemas.microsoft.com/office/drawing/2014/main" id="{2C2900F8-90E4-2159-325E-2C041C08B3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884197" y="1441698"/>
                <a:ext cx="1466866" cy="1100150"/>
              </a:xfrm>
              <a:prstGeom prst="rect">
                <a:avLst/>
              </a:prstGeom>
            </p:spPr>
          </p:pic>
          <p:pic>
            <p:nvPicPr>
              <p:cNvPr id="80" name="图片 79">
                <a:extLst>
                  <a:ext uri="{FF2B5EF4-FFF2-40B4-BE49-F238E27FC236}">
                    <a16:creationId xmlns:a16="http://schemas.microsoft.com/office/drawing/2014/main" id="{7CF59297-C03A-8A12-E1A1-83521FF98C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290839" y="1388369"/>
                <a:ext cx="682877" cy="1185339"/>
              </a:xfrm>
              <a:prstGeom prst="rect">
                <a:avLst/>
              </a:prstGeom>
            </p:spPr>
          </p:pic>
        </p:grpSp>
        <p:grpSp>
          <p:nvGrpSpPr>
            <p:cNvPr id="85" name="组合 84">
              <a:extLst>
                <a:ext uri="{FF2B5EF4-FFF2-40B4-BE49-F238E27FC236}">
                  <a16:creationId xmlns:a16="http://schemas.microsoft.com/office/drawing/2014/main" id="{6B9393B2-265B-F2E9-4402-C6D1970A53F5}"/>
                </a:ext>
              </a:extLst>
            </p:cNvPr>
            <p:cNvGrpSpPr/>
            <p:nvPr/>
          </p:nvGrpSpPr>
          <p:grpSpPr>
            <a:xfrm>
              <a:off x="376387" y="4609035"/>
              <a:ext cx="3778210" cy="1278905"/>
              <a:chOff x="376387" y="4609035"/>
              <a:chExt cx="3778210" cy="1278905"/>
            </a:xfrm>
          </p:grpSpPr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798083AA-CDA9-7AF0-17A0-6A277C268EE1}"/>
                  </a:ext>
                </a:extLst>
              </p:cNvPr>
              <p:cNvSpPr/>
              <p:nvPr/>
            </p:nvSpPr>
            <p:spPr>
              <a:xfrm>
                <a:off x="657929" y="4609035"/>
                <a:ext cx="3496668" cy="1278905"/>
              </a:xfrm>
              <a:custGeom>
                <a:avLst/>
                <a:gdLst>
                  <a:gd name="connsiteX0" fmla="*/ 639536 w 3497122"/>
                  <a:gd name="connsiteY0" fmla="*/ 0 h 1279072"/>
                  <a:gd name="connsiteX1" fmla="*/ 645294 w 3497122"/>
                  <a:gd name="connsiteY1" fmla="*/ 581 h 1279072"/>
                  <a:gd name="connsiteX2" fmla="*/ 645294 w 3497122"/>
                  <a:gd name="connsiteY2" fmla="*/ 1 h 1279072"/>
                  <a:gd name="connsiteX3" fmla="*/ 3497122 w 3497122"/>
                  <a:gd name="connsiteY3" fmla="*/ 1 h 1279072"/>
                  <a:gd name="connsiteX4" fmla="*/ 3497122 w 3497122"/>
                  <a:gd name="connsiteY4" fmla="*/ 1279072 h 1279072"/>
                  <a:gd name="connsiteX5" fmla="*/ 645294 w 3497122"/>
                  <a:gd name="connsiteY5" fmla="*/ 1279072 h 1279072"/>
                  <a:gd name="connsiteX6" fmla="*/ 645294 w 3497122"/>
                  <a:gd name="connsiteY6" fmla="*/ 1278492 h 1279072"/>
                  <a:gd name="connsiteX7" fmla="*/ 639536 w 3497122"/>
                  <a:gd name="connsiteY7" fmla="*/ 1279072 h 1279072"/>
                  <a:gd name="connsiteX8" fmla="*/ 0 w 3497122"/>
                  <a:gd name="connsiteY8" fmla="*/ 639536 h 1279072"/>
                  <a:gd name="connsiteX9" fmla="*/ 639536 w 3497122"/>
                  <a:gd name="connsiteY9" fmla="*/ 0 h 1279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97122" h="1279072">
                    <a:moveTo>
                      <a:pt x="639536" y="0"/>
                    </a:moveTo>
                    <a:lnTo>
                      <a:pt x="645294" y="581"/>
                    </a:lnTo>
                    <a:lnTo>
                      <a:pt x="645294" y="1"/>
                    </a:lnTo>
                    <a:lnTo>
                      <a:pt x="3497122" y="1"/>
                    </a:lnTo>
                    <a:lnTo>
                      <a:pt x="3497122" y="1279072"/>
                    </a:lnTo>
                    <a:lnTo>
                      <a:pt x="645294" y="1279072"/>
                    </a:lnTo>
                    <a:lnTo>
                      <a:pt x="645294" y="1278492"/>
                    </a:lnTo>
                    <a:lnTo>
                      <a:pt x="639536" y="1279072"/>
                    </a:lnTo>
                    <a:cubicBezTo>
                      <a:pt x="286330" y="1279072"/>
                      <a:pt x="0" y="992742"/>
                      <a:pt x="0" y="639536"/>
                    </a:cubicBezTo>
                    <a:cubicBezTo>
                      <a:pt x="0" y="286330"/>
                      <a:pt x="286330" y="0"/>
                      <a:pt x="639536" y="0"/>
                    </a:cubicBezTo>
                    <a:close/>
                  </a:path>
                </a:pathLst>
              </a:custGeom>
              <a:noFill/>
              <a:ln>
                <a:solidFill>
                  <a:srgbClr val="4F81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algn="ctr"/>
                <a:endParaRPr lang="zh-CN" altLang="en-US" sz="1400" b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70" name="图片 69">
                <a:extLst>
                  <a:ext uri="{FF2B5EF4-FFF2-40B4-BE49-F238E27FC236}">
                    <a16:creationId xmlns:a16="http://schemas.microsoft.com/office/drawing/2014/main" id="{816074A5-1897-BBEE-1480-5572AE107C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41369" y="4796340"/>
                <a:ext cx="1233556" cy="984957"/>
              </a:xfrm>
              <a:prstGeom prst="rect">
                <a:avLst/>
              </a:prstGeom>
            </p:spPr>
          </p:pic>
          <p:pic>
            <p:nvPicPr>
              <p:cNvPr id="76" name="图片 75">
                <a:extLst>
                  <a:ext uri="{FF2B5EF4-FFF2-40B4-BE49-F238E27FC236}">
                    <a16:creationId xmlns:a16="http://schemas.microsoft.com/office/drawing/2014/main" id="{E0995C5B-C73E-49B3-E05E-EDA2C0BF6D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6387" y="4756008"/>
                <a:ext cx="1910878" cy="984957"/>
              </a:xfrm>
              <a:prstGeom prst="rect">
                <a:avLst/>
              </a:prstGeom>
            </p:spPr>
          </p:pic>
          <p:pic>
            <p:nvPicPr>
              <p:cNvPr id="82" name="图片 81">
                <a:extLst>
                  <a:ext uri="{FF2B5EF4-FFF2-40B4-BE49-F238E27FC236}">
                    <a16:creationId xmlns:a16="http://schemas.microsoft.com/office/drawing/2014/main" id="{3B72B859-CC0C-D404-8DB5-7B0AAA8D7C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85386" y="4848694"/>
                <a:ext cx="799584" cy="799584"/>
              </a:xfrm>
              <a:prstGeom prst="rect">
                <a:avLst/>
              </a:prstGeom>
            </p:spPr>
          </p:pic>
        </p:grpSp>
        <p:grpSp>
          <p:nvGrpSpPr>
            <p:cNvPr id="101" name="组合 100">
              <a:extLst>
                <a:ext uri="{FF2B5EF4-FFF2-40B4-BE49-F238E27FC236}">
                  <a16:creationId xmlns:a16="http://schemas.microsoft.com/office/drawing/2014/main" id="{C875E76E-DAA6-A493-BE07-78ECD1C7C5AC}"/>
                </a:ext>
              </a:extLst>
            </p:cNvPr>
            <p:cNvGrpSpPr/>
            <p:nvPr/>
          </p:nvGrpSpPr>
          <p:grpSpPr>
            <a:xfrm>
              <a:off x="7985200" y="2989319"/>
              <a:ext cx="3516743" cy="1278905"/>
              <a:chOff x="7985200" y="2989319"/>
              <a:chExt cx="3516743" cy="1278905"/>
            </a:xfrm>
          </p:grpSpPr>
          <p:sp>
            <p:nvSpPr>
              <p:cNvPr id="20" name="任意多边形: 形状 19">
                <a:extLst>
                  <a:ext uri="{FF2B5EF4-FFF2-40B4-BE49-F238E27FC236}">
                    <a16:creationId xmlns:a16="http://schemas.microsoft.com/office/drawing/2014/main" id="{E6F98561-6F2A-8ECC-11F7-74824BC2A6B4}"/>
                  </a:ext>
                </a:extLst>
              </p:cNvPr>
              <p:cNvSpPr/>
              <p:nvPr/>
            </p:nvSpPr>
            <p:spPr>
              <a:xfrm flipH="1">
                <a:off x="8005276" y="2989319"/>
                <a:ext cx="3496667" cy="1278905"/>
              </a:xfrm>
              <a:custGeom>
                <a:avLst/>
                <a:gdLst>
                  <a:gd name="connsiteX0" fmla="*/ 639536 w 3497122"/>
                  <a:gd name="connsiteY0" fmla="*/ 0 h 1279072"/>
                  <a:gd name="connsiteX1" fmla="*/ 645294 w 3497122"/>
                  <a:gd name="connsiteY1" fmla="*/ 581 h 1279072"/>
                  <a:gd name="connsiteX2" fmla="*/ 645294 w 3497122"/>
                  <a:gd name="connsiteY2" fmla="*/ 1 h 1279072"/>
                  <a:gd name="connsiteX3" fmla="*/ 3497122 w 3497122"/>
                  <a:gd name="connsiteY3" fmla="*/ 1 h 1279072"/>
                  <a:gd name="connsiteX4" fmla="*/ 3497122 w 3497122"/>
                  <a:gd name="connsiteY4" fmla="*/ 1279072 h 1279072"/>
                  <a:gd name="connsiteX5" fmla="*/ 645294 w 3497122"/>
                  <a:gd name="connsiteY5" fmla="*/ 1279072 h 1279072"/>
                  <a:gd name="connsiteX6" fmla="*/ 645294 w 3497122"/>
                  <a:gd name="connsiteY6" fmla="*/ 1278492 h 1279072"/>
                  <a:gd name="connsiteX7" fmla="*/ 639536 w 3497122"/>
                  <a:gd name="connsiteY7" fmla="*/ 1279072 h 1279072"/>
                  <a:gd name="connsiteX8" fmla="*/ 0 w 3497122"/>
                  <a:gd name="connsiteY8" fmla="*/ 639536 h 1279072"/>
                  <a:gd name="connsiteX9" fmla="*/ 639536 w 3497122"/>
                  <a:gd name="connsiteY9" fmla="*/ 0 h 1279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97122" h="1279072">
                    <a:moveTo>
                      <a:pt x="639536" y="0"/>
                    </a:moveTo>
                    <a:lnTo>
                      <a:pt x="645294" y="581"/>
                    </a:lnTo>
                    <a:lnTo>
                      <a:pt x="645294" y="1"/>
                    </a:lnTo>
                    <a:lnTo>
                      <a:pt x="3497122" y="1"/>
                    </a:lnTo>
                    <a:lnTo>
                      <a:pt x="3497122" y="1279072"/>
                    </a:lnTo>
                    <a:lnTo>
                      <a:pt x="645294" y="1279072"/>
                    </a:lnTo>
                    <a:lnTo>
                      <a:pt x="645294" y="1278492"/>
                    </a:lnTo>
                    <a:lnTo>
                      <a:pt x="639536" y="1279072"/>
                    </a:lnTo>
                    <a:cubicBezTo>
                      <a:pt x="286330" y="1279072"/>
                      <a:pt x="0" y="992742"/>
                      <a:pt x="0" y="639536"/>
                    </a:cubicBezTo>
                    <a:cubicBezTo>
                      <a:pt x="0" y="286330"/>
                      <a:pt x="286330" y="0"/>
                      <a:pt x="639536" y="0"/>
                    </a:cubicBezTo>
                    <a:close/>
                  </a:path>
                </a:pathLst>
              </a:custGeom>
              <a:noFill/>
              <a:ln>
                <a:solidFill>
                  <a:srgbClr val="4F81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algn="ctr"/>
                <a:endParaRPr lang="zh-CN" altLang="en-US" sz="1400" b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88" name="图片 87">
                <a:extLst>
                  <a:ext uri="{FF2B5EF4-FFF2-40B4-BE49-F238E27FC236}">
                    <a16:creationId xmlns:a16="http://schemas.microsoft.com/office/drawing/2014/main" id="{6693896E-56C0-3407-C767-16335BA354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985200" y="3189854"/>
                <a:ext cx="1010661" cy="877831"/>
              </a:xfrm>
              <a:prstGeom prst="rect">
                <a:avLst/>
              </a:prstGeom>
            </p:spPr>
          </p:pic>
          <p:pic>
            <p:nvPicPr>
              <p:cNvPr id="92" name="图片 91">
                <a:extLst>
                  <a:ext uri="{FF2B5EF4-FFF2-40B4-BE49-F238E27FC236}">
                    <a16:creationId xmlns:a16="http://schemas.microsoft.com/office/drawing/2014/main" id="{B3486393-B4E2-62FC-C1DB-8635B19696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20258836">
                <a:off x="8971277" y="3313245"/>
                <a:ext cx="972156" cy="698185"/>
              </a:xfrm>
              <a:prstGeom prst="rect">
                <a:avLst/>
              </a:prstGeom>
            </p:spPr>
          </p:pic>
          <p:pic>
            <p:nvPicPr>
              <p:cNvPr id="94" name="图片 93">
                <a:extLst>
                  <a:ext uri="{FF2B5EF4-FFF2-40B4-BE49-F238E27FC236}">
                    <a16:creationId xmlns:a16="http://schemas.microsoft.com/office/drawing/2014/main" id="{4E59B45F-8D21-1C8C-E522-3EF08F4688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20875940">
                <a:off x="9937929" y="3276451"/>
                <a:ext cx="1466000" cy="846674"/>
              </a:xfrm>
              <a:prstGeom prst="rect">
                <a:avLst/>
              </a:prstGeom>
            </p:spPr>
          </p:pic>
        </p:grpSp>
        <p:grpSp>
          <p:nvGrpSpPr>
            <p:cNvPr id="102" name="组合 101">
              <a:extLst>
                <a:ext uri="{FF2B5EF4-FFF2-40B4-BE49-F238E27FC236}">
                  <a16:creationId xmlns:a16="http://schemas.microsoft.com/office/drawing/2014/main" id="{2AE6A662-6DB1-DBAD-7AC4-FE308795500F}"/>
                </a:ext>
              </a:extLst>
            </p:cNvPr>
            <p:cNvGrpSpPr/>
            <p:nvPr/>
          </p:nvGrpSpPr>
          <p:grpSpPr>
            <a:xfrm>
              <a:off x="8005276" y="4609038"/>
              <a:ext cx="3496667" cy="1278905"/>
              <a:chOff x="8005276" y="4609038"/>
              <a:chExt cx="3496667" cy="1278905"/>
            </a:xfrm>
          </p:grpSpPr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39C572FD-E393-C478-3CAB-758AF4323745}"/>
                  </a:ext>
                </a:extLst>
              </p:cNvPr>
              <p:cNvSpPr/>
              <p:nvPr/>
            </p:nvSpPr>
            <p:spPr>
              <a:xfrm flipH="1">
                <a:off x="8005276" y="4609038"/>
                <a:ext cx="3496667" cy="1278905"/>
              </a:xfrm>
              <a:custGeom>
                <a:avLst/>
                <a:gdLst>
                  <a:gd name="connsiteX0" fmla="*/ 639536 w 3497122"/>
                  <a:gd name="connsiteY0" fmla="*/ 0 h 1279072"/>
                  <a:gd name="connsiteX1" fmla="*/ 645294 w 3497122"/>
                  <a:gd name="connsiteY1" fmla="*/ 581 h 1279072"/>
                  <a:gd name="connsiteX2" fmla="*/ 645294 w 3497122"/>
                  <a:gd name="connsiteY2" fmla="*/ 1 h 1279072"/>
                  <a:gd name="connsiteX3" fmla="*/ 3497122 w 3497122"/>
                  <a:gd name="connsiteY3" fmla="*/ 1 h 1279072"/>
                  <a:gd name="connsiteX4" fmla="*/ 3497122 w 3497122"/>
                  <a:gd name="connsiteY4" fmla="*/ 1279072 h 1279072"/>
                  <a:gd name="connsiteX5" fmla="*/ 645294 w 3497122"/>
                  <a:gd name="connsiteY5" fmla="*/ 1279072 h 1279072"/>
                  <a:gd name="connsiteX6" fmla="*/ 645294 w 3497122"/>
                  <a:gd name="connsiteY6" fmla="*/ 1278492 h 1279072"/>
                  <a:gd name="connsiteX7" fmla="*/ 639536 w 3497122"/>
                  <a:gd name="connsiteY7" fmla="*/ 1279072 h 1279072"/>
                  <a:gd name="connsiteX8" fmla="*/ 0 w 3497122"/>
                  <a:gd name="connsiteY8" fmla="*/ 639536 h 1279072"/>
                  <a:gd name="connsiteX9" fmla="*/ 639536 w 3497122"/>
                  <a:gd name="connsiteY9" fmla="*/ 0 h 1279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97122" h="1279072">
                    <a:moveTo>
                      <a:pt x="639536" y="0"/>
                    </a:moveTo>
                    <a:lnTo>
                      <a:pt x="645294" y="581"/>
                    </a:lnTo>
                    <a:lnTo>
                      <a:pt x="645294" y="1"/>
                    </a:lnTo>
                    <a:lnTo>
                      <a:pt x="3497122" y="1"/>
                    </a:lnTo>
                    <a:lnTo>
                      <a:pt x="3497122" y="1279072"/>
                    </a:lnTo>
                    <a:lnTo>
                      <a:pt x="645294" y="1279072"/>
                    </a:lnTo>
                    <a:lnTo>
                      <a:pt x="645294" y="1278492"/>
                    </a:lnTo>
                    <a:lnTo>
                      <a:pt x="639536" y="1279072"/>
                    </a:lnTo>
                    <a:cubicBezTo>
                      <a:pt x="286330" y="1279072"/>
                      <a:pt x="0" y="992742"/>
                      <a:pt x="0" y="639536"/>
                    </a:cubicBezTo>
                    <a:cubicBezTo>
                      <a:pt x="0" y="286330"/>
                      <a:pt x="286330" y="0"/>
                      <a:pt x="639536" y="0"/>
                    </a:cubicBezTo>
                    <a:close/>
                  </a:path>
                </a:pathLst>
              </a:custGeom>
              <a:noFill/>
              <a:ln>
                <a:solidFill>
                  <a:srgbClr val="4F81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algn="ctr"/>
                <a:endParaRPr lang="zh-CN" altLang="en-US" sz="1400" b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96" name="图片 95">
                <a:extLst>
                  <a:ext uri="{FF2B5EF4-FFF2-40B4-BE49-F238E27FC236}">
                    <a16:creationId xmlns:a16="http://schemas.microsoft.com/office/drawing/2014/main" id="{E4086A4A-2259-2C05-E976-1585043215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103737" y="4822435"/>
                <a:ext cx="863249" cy="863249"/>
              </a:xfrm>
              <a:prstGeom prst="rect">
                <a:avLst/>
              </a:prstGeom>
            </p:spPr>
          </p:pic>
          <p:pic>
            <p:nvPicPr>
              <p:cNvPr id="98" name="图片 97">
                <a:extLst>
                  <a:ext uri="{FF2B5EF4-FFF2-40B4-BE49-F238E27FC236}">
                    <a16:creationId xmlns:a16="http://schemas.microsoft.com/office/drawing/2014/main" id="{C6F256A4-12C8-D3B0-6CAD-79728B400D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139316" y="4895751"/>
                <a:ext cx="977676" cy="705469"/>
              </a:xfrm>
              <a:prstGeom prst="rect">
                <a:avLst/>
              </a:prstGeom>
            </p:spPr>
          </p:pic>
          <p:pic>
            <p:nvPicPr>
              <p:cNvPr id="100" name="图片 99">
                <a:extLst>
                  <a:ext uri="{FF2B5EF4-FFF2-40B4-BE49-F238E27FC236}">
                    <a16:creationId xmlns:a16="http://schemas.microsoft.com/office/drawing/2014/main" id="{D45E98BC-D378-99A2-E864-C771E0DD55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039672" y="4736676"/>
                <a:ext cx="1395243" cy="1104284"/>
              </a:xfrm>
              <a:prstGeom prst="rect">
                <a:avLst/>
              </a:prstGeom>
            </p:spPr>
          </p:pic>
        </p:grpSp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2CA4962D-CCE3-B058-1ABC-737E3DE8BE2D}"/>
                </a:ext>
              </a:extLst>
            </p:cNvPr>
            <p:cNvGrpSpPr/>
            <p:nvPr/>
          </p:nvGrpSpPr>
          <p:grpSpPr>
            <a:xfrm>
              <a:off x="657929" y="2992719"/>
              <a:ext cx="3496668" cy="1278905"/>
              <a:chOff x="657929" y="2992719"/>
              <a:chExt cx="3496668" cy="1278905"/>
            </a:xfrm>
          </p:grpSpPr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407D8DC7-9351-1D17-1D9F-9897C936FB48}"/>
                  </a:ext>
                </a:extLst>
              </p:cNvPr>
              <p:cNvSpPr/>
              <p:nvPr/>
            </p:nvSpPr>
            <p:spPr>
              <a:xfrm>
                <a:off x="657929" y="2992719"/>
                <a:ext cx="3496668" cy="1278905"/>
              </a:xfrm>
              <a:custGeom>
                <a:avLst/>
                <a:gdLst>
                  <a:gd name="connsiteX0" fmla="*/ 639536 w 3497122"/>
                  <a:gd name="connsiteY0" fmla="*/ 0 h 1279072"/>
                  <a:gd name="connsiteX1" fmla="*/ 645294 w 3497122"/>
                  <a:gd name="connsiteY1" fmla="*/ 581 h 1279072"/>
                  <a:gd name="connsiteX2" fmla="*/ 645294 w 3497122"/>
                  <a:gd name="connsiteY2" fmla="*/ 1 h 1279072"/>
                  <a:gd name="connsiteX3" fmla="*/ 3497122 w 3497122"/>
                  <a:gd name="connsiteY3" fmla="*/ 1 h 1279072"/>
                  <a:gd name="connsiteX4" fmla="*/ 3497122 w 3497122"/>
                  <a:gd name="connsiteY4" fmla="*/ 1279072 h 1279072"/>
                  <a:gd name="connsiteX5" fmla="*/ 645294 w 3497122"/>
                  <a:gd name="connsiteY5" fmla="*/ 1279072 h 1279072"/>
                  <a:gd name="connsiteX6" fmla="*/ 645294 w 3497122"/>
                  <a:gd name="connsiteY6" fmla="*/ 1278492 h 1279072"/>
                  <a:gd name="connsiteX7" fmla="*/ 639536 w 3497122"/>
                  <a:gd name="connsiteY7" fmla="*/ 1279072 h 1279072"/>
                  <a:gd name="connsiteX8" fmla="*/ 0 w 3497122"/>
                  <a:gd name="connsiteY8" fmla="*/ 639536 h 1279072"/>
                  <a:gd name="connsiteX9" fmla="*/ 639536 w 3497122"/>
                  <a:gd name="connsiteY9" fmla="*/ 0 h 1279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97122" h="1279072">
                    <a:moveTo>
                      <a:pt x="639536" y="0"/>
                    </a:moveTo>
                    <a:lnTo>
                      <a:pt x="645294" y="581"/>
                    </a:lnTo>
                    <a:lnTo>
                      <a:pt x="645294" y="1"/>
                    </a:lnTo>
                    <a:lnTo>
                      <a:pt x="3497122" y="1"/>
                    </a:lnTo>
                    <a:lnTo>
                      <a:pt x="3497122" y="1279072"/>
                    </a:lnTo>
                    <a:lnTo>
                      <a:pt x="645294" y="1279072"/>
                    </a:lnTo>
                    <a:lnTo>
                      <a:pt x="645294" y="1278492"/>
                    </a:lnTo>
                    <a:lnTo>
                      <a:pt x="639536" y="1279072"/>
                    </a:lnTo>
                    <a:cubicBezTo>
                      <a:pt x="286330" y="1279072"/>
                      <a:pt x="0" y="992742"/>
                      <a:pt x="0" y="639536"/>
                    </a:cubicBezTo>
                    <a:cubicBezTo>
                      <a:pt x="0" y="286330"/>
                      <a:pt x="286330" y="0"/>
                      <a:pt x="639536" y="0"/>
                    </a:cubicBezTo>
                    <a:close/>
                  </a:path>
                </a:pathLst>
              </a:custGeom>
              <a:noFill/>
              <a:ln>
                <a:solidFill>
                  <a:srgbClr val="4F81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algn="ctr"/>
                <a:endParaRPr lang="zh-CN" altLang="en-US" sz="1400" b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66" name="图片 65">
                <a:extLst>
                  <a:ext uri="{FF2B5EF4-FFF2-40B4-BE49-F238E27FC236}">
                    <a16:creationId xmlns:a16="http://schemas.microsoft.com/office/drawing/2014/main" id="{517A6EE8-A8BF-6AC5-3A1B-C450C9BF32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36174" y="3291382"/>
                <a:ext cx="1225524" cy="691751"/>
              </a:xfrm>
              <a:prstGeom prst="rect">
                <a:avLst/>
              </a:prstGeom>
            </p:spPr>
          </p:pic>
          <p:pic>
            <p:nvPicPr>
              <p:cNvPr id="68" name="图片 67">
                <a:extLst>
                  <a:ext uri="{FF2B5EF4-FFF2-40B4-BE49-F238E27FC236}">
                    <a16:creationId xmlns:a16="http://schemas.microsoft.com/office/drawing/2014/main" id="{6E9A75DF-69B3-B958-E492-59EABBC1D5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48403" y="3172637"/>
                <a:ext cx="937442" cy="1011329"/>
              </a:xfrm>
              <a:prstGeom prst="rect">
                <a:avLst/>
              </a:prstGeom>
            </p:spPr>
          </p:pic>
          <p:pic>
            <p:nvPicPr>
              <p:cNvPr id="3" name="图片 2">
                <a:extLst>
                  <a:ext uri="{FF2B5EF4-FFF2-40B4-BE49-F238E27FC236}">
                    <a16:creationId xmlns:a16="http://schemas.microsoft.com/office/drawing/2014/main" id="{CDC955CB-E129-9154-7888-25BB212E55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22202" y="3172637"/>
                <a:ext cx="720722" cy="877573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818967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文本框 1"/>
          <p:cNvSpPr>
            <a:spLocks noChangeArrowheads="1"/>
          </p:cNvSpPr>
          <p:nvPr/>
        </p:nvSpPr>
        <p:spPr bwMode="auto">
          <a:xfrm>
            <a:off x="4992901" y="404858"/>
            <a:ext cx="21666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6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主营产品</a:t>
            </a:r>
          </a:p>
        </p:txBody>
      </p:sp>
      <p:grpSp>
        <p:nvGrpSpPr>
          <p:cNvPr id="71" name="组合 70">
            <a:extLst>
              <a:ext uri="{FF2B5EF4-FFF2-40B4-BE49-F238E27FC236}">
                <a16:creationId xmlns:a16="http://schemas.microsoft.com/office/drawing/2014/main" id="{90C7616F-EAF5-AA40-5A2C-70EF606CC157}"/>
              </a:ext>
            </a:extLst>
          </p:cNvPr>
          <p:cNvGrpSpPr/>
          <p:nvPr/>
        </p:nvGrpSpPr>
        <p:grpSpPr>
          <a:xfrm>
            <a:off x="653376" y="1376403"/>
            <a:ext cx="10863419" cy="4511540"/>
            <a:chOff x="653376" y="1376403"/>
            <a:chExt cx="10863419" cy="4511540"/>
          </a:xfrm>
        </p:grpSpPr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267AE12B-2DEC-C599-C612-718003735F7E}"/>
                </a:ext>
              </a:extLst>
            </p:cNvPr>
            <p:cNvGrpSpPr/>
            <p:nvPr/>
          </p:nvGrpSpPr>
          <p:grpSpPr>
            <a:xfrm>
              <a:off x="4803942" y="2326058"/>
              <a:ext cx="2612232" cy="2612232"/>
              <a:chOff x="4789714" y="2122714"/>
              <a:chExt cx="2612572" cy="2612572"/>
            </a:xfrm>
          </p:grpSpPr>
          <p:sp>
            <p:nvSpPr>
              <p:cNvPr id="50" name="椭圆 49">
                <a:extLst>
                  <a:ext uri="{FF2B5EF4-FFF2-40B4-BE49-F238E27FC236}">
                    <a16:creationId xmlns:a16="http://schemas.microsoft.com/office/drawing/2014/main" id="{0E0D54A2-B427-DCE2-D6DB-1524F5DFD18F}"/>
                  </a:ext>
                </a:extLst>
              </p:cNvPr>
              <p:cNvSpPr/>
              <p:nvPr/>
            </p:nvSpPr>
            <p:spPr>
              <a:xfrm>
                <a:off x="4789714" y="2122714"/>
                <a:ext cx="2612572" cy="26125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altLang="zh-CN" sz="16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文本框 51">
                <a:extLst>
                  <a:ext uri="{FF2B5EF4-FFF2-40B4-BE49-F238E27FC236}">
                    <a16:creationId xmlns:a16="http://schemas.microsoft.com/office/drawing/2014/main" id="{063FCE63-BCCA-786A-8AD1-C214853841CE}"/>
                  </a:ext>
                </a:extLst>
              </p:cNvPr>
              <p:cNvSpPr txBox="1"/>
              <p:nvPr/>
            </p:nvSpPr>
            <p:spPr>
              <a:xfrm>
                <a:off x="4995881" y="3102387"/>
                <a:ext cx="2176846" cy="6464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zh-CN" altLang="en-US" sz="3600" b="1" dirty="0">
                    <a:solidFill>
                      <a:srgbClr val="FFFFFF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主动器件</a:t>
                </a:r>
                <a:endParaRPr lang="en-US" altLang="zh-CN" sz="3600" b="1" dirty="0">
                  <a:solidFill>
                    <a:srgbClr val="FFFFFF"/>
                  </a:solidFill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7D958B98-1073-A89C-6CB5-06BADB37FC4F}"/>
                </a:ext>
              </a:extLst>
            </p:cNvPr>
            <p:cNvGrpSpPr/>
            <p:nvPr/>
          </p:nvGrpSpPr>
          <p:grpSpPr>
            <a:xfrm>
              <a:off x="653376" y="1376403"/>
              <a:ext cx="3518457" cy="1278905"/>
              <a:chOff x="653376" y="1376403"/>
              <a:chExt cx="3518457" cy="1278905"/>
            </a:xfrm>
          </p:grpSpPr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909C7B27-3280-6436-0132-8C84A4248F56}"/>
                  </a:ext>
                </a:extLst>
              </p:cNvPr>
              <p:cNvSpPr/>
              <p:nvPr/>
            </p:nvSpPr>
            <p:spPr>
              <a:xfrm>
                <a:off x="675165" y="1376403"/>
                <a:ext cx="3496668" cy="1278905"/>
              </a:xfrm>
              <a:custGeom>
                <a:avLst/>
                <a:gdLst>
                  <a:gd name="connsiteX0" fmla="*/ 639536 w 3497122"/>
                  <a:gd name="connsiteY0" fmla="*/ 0 h 1279072"/>
                  <a:gd name="connsiteX1" fmla="*/ 645294 w 3497122"/>
                  <a:gd name="connsiteY1" fmla="*/ 581 h 1279072"/>
                  <a:gd name="connsiteX2" fmla="*/ 645294 w 3497122"/>
                  <a:gd name="connsiteY2" fmla="*/ 1 h 1279072"/>
                  <a:gd name="connsiteX3" fmla="*/ 3497122 w 3497122"/>
                  <a:gd name="connsiteY3" fmla="*/ 1 h 1279072"/>
                  <a:gd name="connsiteX4" fmla="*/ 3497122 w 3497122"/>
                  <a:gd name="connsiteY4" fmla="*/ 1279072 h 1279072"/>
                  <a:gd name="connsiteX5" fmla="*/ 645294 w 3497122"/>
                  <a:gd name="connsiteY5" fmla="*/ 1279072 h 1279072"/>
                  <a:gd name="connsiteX6" fmla="*/ 645294 w 3497122"/>
                  <a:gd name="connsiteY6" fmla="*/ 1278492 h 1279072"/>
                  <a:gd name="connsiteX7" fmla="*/ 639536 w 3497122"/>
                  <a:gd name="connsiteY7" fmla="*/ 1279072 h 1279072"/>
                  <a:gd name="connsiteX8" fmla="*/ 0 w 3497122"/>
                  <a:gd name="connsiteY8" fmla="*/ 639536 h 1279072"/>
                  <a:gd name="connsiteX9" fmla="*/ 639536 w 3497122"/>
                  <a:gd name="connsiteY9" fmla="*/ 0 h 1279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97122" h="1279072">
                    <a:moveTo>
                      <a:pt x="639536" y="0"/>
                    </a:moveTo>
                    <a:lnTo>
                      <a:pt x="645294" y="581"/>
                    </a:lnTo>
                    <a:lnTo>
                      <a:pt x="645294" y="1"/>
                    </a:lnTo>
                    <a:lnTo>
                      <a:pt x="3497122" y="1"/>
                    </a:lnTo>
                    <a:lnTo>
                      <a:pt x="3497122" y="1279072"/>
                    </a:lnTo>
                    <a:lnTo>
                      <a:pt x="645294" y="1279072"/>
                    </a:lnTo>
                    <a:lnTo>
                      <a:pt x="645294" y="1278492"/>
                    </a:lnTo>
                    <a:lnTo>
                      <a:pt x="639536" y="1279072"/>
                    </a:lnTo>
                    <a:cubicBezTo>
                      <a:pt x="286330" y="1279072"/>
                      <a:pt x="0" y="992742"/>
                      <a:pt x="0" y="639536"/>
                    </a:cubicBezTo>
                    <a:cubicBezTo>
                      <a:pt x="0" y="286330"/>
                      <a:pt x="286330" y="0"/>
                      <a:pt x="639536" y="0"/>
                    </a:cubicBezTo>
                    <a:close/>
                  </a:path>
                </a:pathLst>
              </a:custGeom>
              <a:noFill/>
              <a:ln>
                <a:solidFill>
                  <a:srgbClr val="4F81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algn="ctr"/>
                <a:endParaRPr lang="zh-CN" altLang="en-US" sz="1400" b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3" name="图片 2">
                <a:extLst>
                  <a:ext uri="{FF2B5EF4-FFF2-40B4-BE49-F238E27FC236}">
                    <a16:creationId xmlns:a16="http://schemas.microsoft.com/office/drawing/2014/main" id="{E9887EA4-6440-DEE4-197F-839B3ADD1B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3376" y="1391974"/>
                <a:ext cx="1160933" cy="1160933"/>
              </a:xfrm>
              <a:prstGeom prst="rect">
                <a:avLst/>
              </a:prstGeom>
            </p:spPr>
          </p:pic>
          <p:pic>
            <p:nvPicPr>
              <p:cNvPr id="5" name="图片 4">
                <a:extLst>
                  <a:ext uri="{FF2B5EF4-FFF2-40B4-BE49-F238E27FC236}">
                    <a16:creationId xmlns:a16="http://schemas.microsoft.com/office/drawing/2014/main" id="{AB26D162-C7E9-871A-D557-9D470FBB65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22402" y="1537754"/>
                <a:ext cx="955254" cy="955254"/>
              </a:xfrm>
              <a:prstGeom prst="rect">
                <a:avLst/>
              </a:prstGeom>
            </p:spPr>
          </p:pic>
          <p:pic>
            <p:nvPicPr>
              <p:cNvPr id="7" name="图片 6">
                <a:extLst>
                  <a:ext uri="{FF2B5EF4-FFF2-40B4-BE49-F238E27FC236}">
                    <a16:creationId xmlns:a16="http://schemas.microsoft.com/office/drawing/2014/main" id="{AE4D9DBB-DB82-3E00-7035-49B6189E9C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80702" y="1628800"/>
                <a:ext cx="805412" cy="800282"/>
              </a:xfrm>
              <a:prstGeom prst="rect">
                <a:avLst/>
              </a:prstGeom>
            </p:spPr>
          </p:pic>
          <p:pic>
            <p:nvPicPr>
              <p:cNvPr id="9" name="图片 8">
                <a:extLst>
                  <a:ext uri="{FF2B5EF4-FFF2-40B4-BE49-F238E27FC236}">
                    <a16:creationId xmlns:a16="http://schemas.microsoft.com/office/drawing/2014/main" id="{520D17B5-7871-C6BB-7596-EDBDAC8AED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501974">
                <a:off x="3055183" y="1619517"/>
                <a:ext cx="1107202" cy="955254"/>
              </a:xfrm>
              <a:prstGeom prst="rect">
                <a:avLst/>
              </a:prstGeom>
            </p:spPr>
          </p:pic>
        </p:grpSp>
        <p:grpSp>
          <p:nvGrpSpPr>
            <p:cNvPr id="32" name="组合 31">
              <a:extLst>
                <a:ext uri="{FF2B5EF4-FFF2-40B4-BE49-F238E27FC236}">
                  <a16:creationId xmlns:a16="http://schemas.microsoft.com/office/drawing/2014/main" id="{48567451-9B34-CE15-8D6F-6B7A00661646}"/>
                </a:ext>
              </a:extLst>
            </p:cNvPr>
            <p:cNvGrpSpPr/>
            <p:nvPr/>
          </p:nvGrpSpPr>
          <p:grpSpPr>
            <a:xfrm>
              <a:off x="672781" y="2992719"/>
              <a:ext cx="3496668" cy="1278905"/>
              <a:chOff x="672781" y="2992719"/>
              <a:chExt cx="3496668" cy="1278905"/>
            </a:xfrm>
          </p:grpSpPr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407D8DC7-9351-1D17-1D9F-9897C936FB48}"/>
                  </a:ext>
                </a:extLst>
              </p:cNvPr>
              <p:cNvSpPr/>
              <p:nvPr/>
            </p:nvSpPr>
            <p:spPr>
              <a:xfrm>
                <a:off x="672781" y="2992719"/>
                <a:ext cx="3496668" cy="1278905"/>
              </a:xfrm>
              <a:custGeom>
                <a:avLst/>
                <a:gdLst>
                  <a:gd name="connsiteX0" fmla="*/ 639536 w 3497122"/>
                  <a:gd name="connsiteY0" fmla="*/ 0 h 1279072"/>
                  <a:gd name="connsiteX1" fmla="*/ 645294 w 3497122"/>
                  <a:gd name="connsiteY1" fmla="*/ 581 h 1279072"/>
                  <a:gd name="connsiteX2" fmla="*/ 645294 w 3497122"/>
                  <a:gd name="connsiteY2" fmla="*/ 1 h 1279072"/>
                  <a:gd name="connsiteX3" fmla="*/ 3497122 w 3497122"/>
                  <a:gd name="connsiteY3" fmla="*/ 1 h 1279072"/>
                  <a:gd name="connsiteX4" fmla="*/ 3497122 w 3497122"/>
                  <a:gd name="connsiteY4" fmla="*/ 1279072 h 1279072"/>
                  <a:gd name="connsiteX5" fmla="*/ 645294 w 3497122"/>
                  <a:gd name="connsiteY5" fmla="*/ 1279072 h 1279072"/>
                  <a:gd name="connsiteX6" fmla="*/ 645294 w 3497122"/>
                  <a:gd name="connsiteY6" fmla="*/ 1278492 h 1279072"/>
                  <a:gd name="connsiteX7" fmla="*/ 639536 w 3497122"/>
                  <a:gd name="connsiteY7" fmla="*/ 1279072 h 1279072"/>
                  <a:gd name="connsiteX8" fmla="*/ 0 w 3497122"/>
                  <a:gd name="connsiteY8" fmla="*/ 639536 h 1279072"/>
                  <a:gd name="connsiteX9" fmla="*/ 639536 w 3497122"/>
                  <a:gd name="connsiteY9" fmla="*/ 0 h 1279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97122" h="1279072">
                    <a:moveTo>
                      <a:pt x="639536" y="0"/>
                    </a:moveTo>
                    <a:lnTo>
                      <a:pt x="645294" y="581"/>
                    </a:lnTo>
                    <a:lnTo>
                      <a:pt x="645294" y="1"/>
                    </a:lnTo>
                    <a:lnTo>
                      <a:pt x="3497122" y="1"/>
                    </a:lnTo>
                    <a:lnTo>
                      <a:pt x="3497122" y="1279072"/>
                    </a:lnTo>
                    <a:lnTo>
                      <a:pt x="645294" y="1279072"/>
                    </a:lnTo>
                    <a:lnTo>
                      <a:pt x="645294" y="1278492"/>
                    </a:lnTo>
                    <a:lnTo>
                      <a:pt x="639536" y="1279072"/>
                    </a:lnTo>
                    <a:cubicBezTo>
                      <a:pt x="286330" y="1279072"/>
                      <a:pt x="0" y="992742"/>
                      <a:pt x="0" y="639536"/>
                    </a:cubicBezTo>
                    <a:cubicBezTo>
                      <a:pt x="0" y="286330"/>
                      <a:pt x="286330" y="0"/>
                      <a:pt x="639536" y="0"/>
                    </a:cubicBezTo>
                    <a:close/>
                  </a:path>
                </a:pathLst>
              </a:custGeom>
              <a:noFill/>
              <a:ln>
                <a:solidFill>
                  <a:srgbClr val="4F81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algn="ctr"/>
                <a:endParaRPr lang="zh-CN" altLang="en-US" sz="1400" b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12" name="图片 11">
                <a:extLst>
                  <a:ext uri="{FF2B5EF4-FFF2-40B4-BE49-F238E27FC236}">
                    <a16:creationId xmlns:a16="http://schemas.microsoft.com/office/drawing/2014/main" id="{211255FE-6412-03A7-74F5-06FE70127A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563753">
                <a:off x="1700552" y="3277151"/>
                <a:ext cx="889655" cy="771654"/>
              </a:xfrm>
              <a:prstGeom prst="rect">
                <a:avLst/>
              </a:prstGeom>
            </p:spPr>
          </p:pic>
          <p:pic>
            <p:nvPicPr>
              <p:cNvPr id="27" name="图片 26">
                <a:extLst>
                  <a:ext uri="{FF2B5EF4-FFF2-40B4-BE49-F238E27FC236}">
                    <a16:creationId xmlns:a16="http://schemas.microsoft.com/office/drawing/2014/main" id="{BA6730D5-802F-2713-483F-32304C6E55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75086" y="3291943"/>
                <a:ext cx="686387" cy="686387"/>
              </a:xfrm>
              <a:prstGeom prst="rect">
                <a:avLst/>
              </a:prstGeom>
            </p:spPr>
          </p:pic>
          <p:pic>
            <p:nvPicPr>
              <p:cNvPr id="31" name="图片 30">
                <a:extLst>
                  <a:ext uri="{FF2B5EF4-FFF2-40B4-BE49-F238E27FC236}">
                    <a16:creationId xmlns:a16="http://schemas.microsoft.com/office/drawing/2014/main" id="{68C15686-D008-04DE-3EE7-939655ED39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20654637">
                <a:off x="2677729" y="3174616"/>
                <a:ext cx="1290576" cy="988582"/>
              </a:xfrm>
              <a:prstGeom prst="rect">
                <a:avLst/>
              </a:prstGeom>
            </p:spPr>
          </p:pic>
        </p:grpSp>
        <p:grpSp>
          <p:nvGrpSpPr>
            <p:cNvPr id="39" name="组合 38">
              <a:extLst>
                <a:ext uri="{FF2B5EF4-FFF2-40B4-BE49-F238E27FC236}">
                  <a16:creationId xmlns:a16="http://schemas.microsoft.com/office/drawing/2014/main" id="{7EC9F87C-3F8F-12B9-C094-D9B9FAA8B6E1}"/>
                </a:ext>
              </a:extLst>
            </p:cNvPr>
            <p:cNvGrpSpPr/>
            <p:nvPr/>
          </p:nvGrpSpPr>
          <p:grpSpPr>
            <a:xfrm>
              <a:off x="672781" y="4609035"/>
              <a:ext cx="3496668" cy="1278905"/>
              <a:chOff x="672781" y="4609035"/>
              <a:chExt cx="3496668" cy="1278905"/>
            </a:xfrm>
          </p:grpSpPr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798083AA-CDA9-7AF0-17A0-6A277C268EE1}"/>
                  </a:ext>
                </a:extLst>
              </p:cNvPr>
              <p:cNvSpPr/>
              <p:nvPr/>
            </p:nvSpPr>
            <p:spPr>
              <a:xfrm>
                <a:off x="672781" y="4609035"/>
                <a:ext cx="3496668" cy="1278905"/>
              </a:xfrm>
              <a:custGeom>
                <a:avLst/>
                <a:gdLst>
                  <a:gd name="connsiteX0" fmla="*/ 639536 w 3497122"/>
                  <a:gd name="connsiteY0" fmla="*/ 0 h 1279072"/>
                  <a:gd name="connsiteX1" fmla="*/ 645294 w 3497122"/>
                  <a:gd name="connsiteY1" fmla="*/ 581 h 1279072"/>
                  <a:gd name="connsiteX2" fmla="*/ 645294 w 3497122"/>
                  <a:gd name="connsiteY2" fmla="*/ 1 h 1279072"/>
                  <a:gd name="connsiteX3" fmla="*/ 3497122 w 3497122"/>
                  <a:gd name="connsiteY3" fmla="*/ 1 h 1279072"/>
                  <a:gd name="connsiteX4" fmla="*/ 3497122 w 3497122"/>
                  <a:gd name="connsiteY4" fmla="*/ 1279072 h 1279072"/>
                  <a:gd name="connsiteX5" fmla="*/ 645294 w 3497122"/>
                  <a:gd name="connsiteY5" fmla="*/ 1279072 h 1279072"/>
                  <a:gd name="connsiteX6" fmla="*/ 645294 w 3497122"/>
                  <a:gd name="connsiteY6" fmla="*/ 1278492 h 1279072"/>
                  <a:gd name="connsiteX7" fmla="*/ 639536 w 3497122"/>
                  <a:gd name="connsiteY7" fmla="*/ 1279072 h 1279072"/>
                  <a:gd name="connsiteX8" fmla="*/ 0 w 3497122"/>
                  <a:gd name="connsiteY8" fmla="*/ 639536 h 1279072"/>
                  <a:gd name="connsiteX9" fmla="*/ 639536 w 3497122"/>
                  <a:gd name="connsiteY9" fmla="*/ 0 h 1279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97122" h="1279072">
                    <a:moveTo>
                      <a:pt x="639536" y="0"/>
                    </a:moveTo>
                    <a:lnTo>
                      <a:pt x="645294" y="581"/>
                    </a:lnTo>
                    <a:lnTo>
                      <a:pt x="645294" y="1"/>
                    </a:lnTo>
                    <a:lnTo>
                      <a:pt x="3497122" y="1"/>
                    </a:lnTo>
                    <a:lnTo>
                      <a:pt x="3497122" y="1279072"/>
                    </a:lnTo>
                    <a:lnTo>
                      <a:pt x="645294" y="1279072"/>
                    </a:lnTo>
                    <a:lnTo>
                      <a:pt x="645294" y="1278492"/>
                    </a:lnTo>
                    <a:lnTo>
                      <a:pt x="639536" y="1279072"/>
                    </a:lnTo>
                    <a:cubicBezTo>
                      <a:pt x="286330" y="1279072"/>
                      <a:pt x="0" y="992742"/>
                      <a:pt x="0" y="639536"/>
                    </a:cubicBezTo>
                    <a:cubicBezTo>
                      <a:pt x="0" y="286330"/>
                      <a:pt x="286330" y="0"/>
                      <a:pt x="639536" y="0"/>
                    </a:cubicBezTo>
                    <a:close/>
                  </a:path>
                </a:pathLst>
              </a:custGeom>
              <a:noFill/>
              <a:ln>
                <a:solidFill>
                  <a:srgbClr val="4F81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algn="ctr"/>
                <a:endParaRPr lang="zh-CN" altLang="en-US" sz="1400" b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34" name="图片 33">
                <a:extLst>
                  <a:ext uri="{FF2B5EF4-FFF2-40B4-BE49-F238E27FC236}">
                    <a16:creationId xmlns:a16="http://schemas.microsoft.com/office/drawing/2014/main" id="{61FD90D1-B156-4E2E-C925-F044323183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08407" y="4947385"/>
                <a:ext cx="872887" cy="602204"/>
              </a:xfrm>
              <a:prstGeom prst="rect">
                <a:avLst/>
              </a:prstGeom>
            </p:spPr>
          </p:pic>
          <p:pic>
            <p:nvPicPr>
              <p:cNvPr id="36" name="图片 35">
                <a:extLst>
                  <a:ext uri="{FF2B5EF4-FFF2-40B4-BE49-F238E27FC236}">
                    <a16:creationId xmlns:a16="http://schemas.microsoft.com/office/drawing/2014/main" id="{1CEB5C90-B3C5-51D5-7AB1-1160D03AF5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08850" y="4914476"/>
                <a:ext cx="1077544" cy="681547"/>
              </a:xfrm>
              <a:prstGeom prst="rect">
                <a:avLst/>
              </a:prstGeom>
            </p:spPr>
          </p:pic>
          <p:pic>
            <p:nvPicPr>
              <p:cNvPr id="38" name="图片 37">
                <a:extLst>
                  <a:ext uri="{FF2B5EF4-FFF2-40B4-BE49-F238E27FC236}">
                    <a16:creationId xmlns:a16="http://schemas.microsoft.com/office/drawing/2014/main" id="{1EAFF05F-3398-E793-85C2-C0226D99A0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62613" y="4914476"/>
                <a:ext cx="920795" cy="733786"/>
              </a:xfrm>
              <a:prstGeom prst="rect">
                <a:avLst/>
              </a:prstGeom>
            </p:spPr>
          </p:pic>
        </p:grpSp>
        <p:grpSp>
          <p:nvGrpSpPr>
            <p:cNvPr id="48" name="组合 47">
              <a:extLst>
                <a:ext uri="{FF2B5EF4-FFF2-40B4-BE49-F238E27FC236}">
                  <a16:creationId xmlns:a16="http://schemas.microsoft.com/office/drawing/2014/main" id="{9293C264-485E-97FA-685A-1EC7CB125938}"/>
                </a:ext>
              </a:extLst>
            </p:cNvPr>
            <p:cNvGrpSpPr/>
            <p:nvPr/>
          </p:nvGrpSpPr>
          <p:grpSpPr>
            <a:xfrm>
              <a:off x="8020128" y="1376404"/>
              <a:ext cx="3496667" cy="1278905"/>
              <a:chOff x="8020128" y="1376404"/>
              <a:chExt cx="3496667" cy="1278905"/>
            </a:xfrm>
          </p:grpSpPr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id="{4531F332-6DBC-83DA-8412-FD0FE776225B}"/>
                  </a:ext>
                </a:extLst>
              </p:cNvPr>
              <p:cNvSpPr/>
              <p:nvPr/>
            </p:nvSpPr>
            <p:spPr>
              <a:xfrm flipH="1">
                <a:off x="8020128" y="1376404"/>
                <a:ext cx="3496667" cy="1278905"/>
              </a:xfrm>
              <a:custGeom>
                <a:avLst/>
                <a:gdLst>
                  <a:gd name="connsiteX0" fmla="*/ 639536 w 3497122"/>
                  <a:gd name="connsiteY0" fmla="*/ 0 h 1279072"/>
                  <a:gd name="connsiteX1" fmla="*/ 645294 w 3497122"/>
                  <a:gd name="connsiteY1" fmla="*/ 581 h 1279072"/>
                  <a:gd name="connsiteX2" fmla="*/ 645294 w 3497122"/>
                  <a:gd name="connsiteY2" fmla="*/ 1 h 1279072"/>
                  <a:gd name="connsiteX3" fmla="*/ 3497122 w 3497122"/>
                  <a:gd name="connsiteY3" fmla="*/ 1 h 1279072"/>
                  <a:gd name="connsiteX4" fmla="*/ 3497122 w 3497122"/>
                  <a:gd name="connsiteY4" fmla="*/ 1279072 h 1279072"/>
                  <a:gd name="connsiteX5" fmla="*/ 645294 w 3497122"/>
                  <a:gd name="connsiteY5" fmla="*/ 1279072 h 1279072"/>
                  <a:gd name="connsiteX6" fmla="*/ 645294 w 3497122"/>
                  <a:gd name="connsiteY6" fmla="*/ 1278492 h 1279072"/>
                  <a:gd name="connsiteX7" fmla="*/ 639536 w 3497122"/>
                  <a:gd name="connsiteY7" fmla="*/ 1279072 h 1279072"/>
                  <a:gd name="connsiteX8" fmla="*/ 0 w 3497122"/>
                  <a:gd name="connsiteY8" fmla="*/ 639536 h 1279072"/>
                  <a:gd name="connsiteX9" fmla="*/ 639536 w 3497122"/>
                  <a:gd name="connsiteY9" fmla="*/ 0 h 1279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97122" h="1279072">
                    <a:moveTo>
                      <a:pt x="639536" y="0"/>
                    </a:moveTo>
                    <a:lnTo>
                      <a:pt x="645294" y="581"/>
                    </a:lnTo>
                    <a:lnTo>
                      <a:pt x="645294" y="1"/>
                    </a:lnTo>
                    <a:lnTo>
                      <a:pt x="3497122" y="1"/>
                    </a:lnTo>
                    <a:lnTo>
                      <a:pt x="3497122" y="1279072"/>
                    </a:lnTo>
                    <a:lnTo>
                      <a:pt x="645294" y="1279072"/>
                    </a:lnTo>
                    <a:lnTo>
                      <a:pt x="645294" y="1278492"/>
                    </a:lnTo>
                    <a:lnTo>
                      <a:pt x="639536" y="1279072"/>
                    </a:lnTo>
                    <a:cubicBezTo>
                      <a:pt x="286330" y="1279072"/>
                      <a:pt x="0" y="992742"/>
                      <a:pt x="0" y="639536"/>
                    </a:cubicBezTo>
                    <a:cubicBezTo>
                      <a:pt x="0" y="286330"/>
                      <a:pt x="286330" y="0"/>
                      <a:pt x="639536" y="0"/>
                    </a:cubicBezTo>
                    <a:close/>
                  </a:path>
                </a:pathLst>
              </a:custGeom>
              <a:noFill/>
              <a:ln>
                <a:solidFill>
                  <a:srgbClr val="4F81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algn="ctr"/>
                <a:endParaRPr lang="zh-CN" altLang="en-US" sz="1400" b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41" name="图片 40">
                <a:extLst>
                  <a:ext uri="{FF2B5EF4-FFF2-40B4-BE49-F238E27FC236}">
                    <a16:creationId xmlns:a16="http://schemas.microsoft.com/office/drawing/2014/main" id="{33E2C135-DC81-D5CF-7DFB-A0CEFDE772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487694" y="1651244"/>
                <a:ext cx="971032" cy="728274"/>
              </a:xfrm>
              <a:prstGeom prst="rect">
                <a:avLst/>
              </a:prstGeom>
            </p:spPr>
          </p:pic>
          <p:pic>
            <p:nvPicPr>
              <p:cNvPr id="43" name="图片 42">
                <a:extLst>
                  <a:ext uri="{FF2B5EF4-FFF2-40B4-BE49-F238E27FC236}">
                    <a16:creationId xmlns:a16="http://schemas.microsoft.com/office/drawing/2014/main" id="{6D7ABD4D-6F3A-663C-A9F1-CEF2B78F61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457150" y="1714435"/>
                <a:ext cx="946097" cy="640775"/>
              </a:xfrm>
              <a:prstGeom prst="rect">
                <a:avLst/>
              </a:prstGeom>
            </p:spPr>
          </p:pic>
          <p:pic>
            <p:nvPicPr>
              <p:cNvPr id="47" name="图片 46">
                <a:extLst>
                  <a:ext uri="{FF2B5EF4-FFF2-40B4-BE49-F238E27FC236}">
                    <a16:creationId xmlns:a16="http://schemas.microsoft.com/office/drawing/2014/main" id="{AF072DA6-26F4-950E-6CE1-46A105B59E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72880" y="1544050"/>
                <a:ext cx="1250265" cy="1079019"/>
              </a:xfrm>
              <a:prstGeom prst="rect">
                <a:avLst/>
              </a:prstGeom>
            </p:spPr>
          </p:pic>
        </p:grpSp>
        <p:grpSp>
          <p:nvGrpSpPr>
            <p:cNvPr id="57" name="组合 56">
              <a:extLst>
                <a:ext uri="{FF2B5EF4-FFF2-40B4-BE49-F238E27FC236}">
                  <a16:creationId xmlns:a16="http://schemas.microsoft.com/office/drawing/2014/main" id="{9BD32610-0200-AD1C-E673-A2A98E1AED33}"/>
                </a:ext>
              </a:extLst>
            </p:cNvPr>
            <p:cNvGrpSpPr/>
            <p:nvPr/>
          </p:nvGrpSpPr>
          <p:grpSpPr>
            <a:xfrm>
              <a:off x="8020128" y="2989319"/>
              <a:ext cx="3496667" cy="1278905"/>
              <a:chOff x="8020128" y="2989319"/>
              <a:chExt cx="3496667" cy="1278905"/>
            </a:xfrm>
          </p:grpSpPr>
          <p:sp>
            <p:nvSpPr>
              <p:cNvPr id="20" name="任意多边形: 形状 19">
                <a:extLst>
                  <a:ext uri="{FF2B5EF4-FFF2-40B4-BE49-F238E27FC236}">
                    <a16:creationId xmlns:a16="http://schemas.microsoft.com/office/drawing/2014/main" id="{E6F98561-6F2A-8ECC-11F7-74824BC2A6B4}"/>
                  </a:ext>
                </a:extLst>
              </p:cNvPr>
              <p:cNvSpPr/>
              <p:nvPr/>
            </p:nvSpPr>
            <p:spPr>
              <a:xfrm flipH="1">
                <a:off x="8020128" y="2989319"/>
                <a:ext cx="3496667" cy="1278905"/>
              </a:xfrm>
              <a:custGeom>
                <a:avLst/>
                <a:gdLst>
                  <a:gd name="connsiteX0" fmla="*/ 639536 w 3497122"/>
                  <a:gd name="connsiteY0" fmla="*/ 0 h 1279072"/>
                  <a:gd name="connsiteX1" fmla="*/ 645294 w 3497122"/>
                  <a:gd name="connsiteY1" fmla="*/ 581 h 1279072"/>
                  <a:gd name="connsiteX2" fmla="*/ 645294 w 3497122"/>
                  <a:gd name="connsiteY2" fmla="*/ 1 h 1279072"/>
                  <a:gd name="connsiteX3" fmla="*/ 3497122 w 3497122"/>
                  <a:gd name="connsiteY3" fmla="*/ 1 h 1279072"/>
                  <a:gd name="connsiteX4" fmla="*/ 3497122 w 3497122"/>
                  <a:gd name="connsiteY4" fmla="*/ 1279072 h 1279072"/>
                  <a:gd name="connsiteX5" fmla="*/ 645294 w 3497122"/>
                  <a:gd name="connsiteY5" fmla="*/ 1279072 h 1279072"/>
                  <a:gd name="connsiteX6" fmla="*/ 645294 w 3497122"/>
                  <a:gd name="connsiteY6" fmla="*/ 1278492 h 1279072"/>
                  <a:gd name="connsiteX7" fmla="*/ 639536 w 3497122"/>
                  <a:gd name="connsiteY7" fmla="*/ 1279072 h 1279072"/>
                  <a:gd name="connsiteX8" fmla="*/ 0 w 3497122"/>
                  <a:gd name="connsiteY8" fmla="*/ 639536 h 1279072"/>
                  <a:gd name="connsiteX9" fmla="*/ 639536 w 3497122"/>
                  <a:gd name="connsiteY9" fmla="*/ 0 h 1279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97122" h="1279072">
                    <a:moveTo>
                      <a:pt x="639536" y="0"/>
                    </a:moveTo>
                    <a:lnTo>
                      <a:pt x="645294" y="581"/>
                    </a:lnTo>
                    <a:lnTo>
                      <a:pt x="645294" y="1"/>
                    </a:lnTo>
                    <a:lnTo>
                      <a:pt x="3497122" y="1"/>
                    </a:lnTo>
                    <a:lnTo>
                      <a:pt x="3497122" y="1279072"/>
                    </a:lnTo>
                    <a:lnTo>
                      <a:pt x="645294" y="1279072"/>
                    </a:lnTo>
                    <a:lnTo>
                      <a:pt x="645294" y="1278492"/>
                    </a:lnTo>
                    <a:lnTo>
                      <a:pt x="639536" y="1279072"/>
                    </a:lnTo>
                    <a:cubicBezTo>
                      <a:pt x="286330" y="1279072"/>
                      <a:pt x="0" y="992742"/>
                      <a:pt x="0" y="639536"/>
                    </a:cubicBezTo>
                    <a:cubicBezTo>
                      <a:pt x="0" y="286330"/>
                      <a:pt x="286330" y="0"/>
                      <a:pt x="639536" y="0"/>
                    </a:cubicBezTo>
                    <a:close/>
                  </a:path>
                </a:pathLst>
              </a:custGeom>
              <a:noFill/>
              <a:ln>
                <a:solidFill>
                  <a:srgbClr val="4F81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algn="ctr"/>
                <a:endParaRPr lang="zh-CN" altLang="en-US" sz="1400" b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51" name="图片 50">
                <a:extLst>
                  <a:ext uri="{FF2B5EF4-FFF2-40B4-BE49-F238E27FC236}">
                    <a16:creationId xmlns:a16="http://schemas.microsoft.com/office/drawing/2014/main" id="{02946501-1866-E3C1-02CA-1CA153F91E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779077" y="3181583"/>
                <a:ext cx="1248339" cy="974654"/>
              </a:xfrm>
              <a:prstGeom prst="rect">
                <a:avLst/>
              </a:prstGeom>
            </p:spPr>
          </p:pic>
          <p:pic>
            <p:nvPicPr>
              <p:cNvPr id="54" name="图片 53">
                <a:extLst>
                  <a:ext uri="{FF2B5EF4-FFF2-40B4-BE49-F238E27FC236}">
                    <a16:creationId xmlns:a16="http://schemas.microsoft.com/office/drawing/2014/main" id="{86D61864-1427-03DF-6174-BC58498C51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23913" y="3068154"/>
                <a:ext cx="1483412" cy="1121228"/>
              </a:xfrm>
              <a:prstGeom prst="rect">
                <a:avLst/>
              </a:prstGeom>
            </p:spPr>
          </p:pic>
        </p:grpSp>
        <p:grpSp>
          <p:nvGrpSpPr>
            <p:cNvPr id="69" name="组合 68">
              <a:extLst>
                <a:ext uri="{FF2B5EF4-FFF2-40B4-BE49-F238E27FC236}">
                  <a16:creationId xmlns:a16="http://schemas.microsoft.com/office/drawing/2014/main" id="{2CDB9555-CD38-46D9-0A8E-707C949715CF}"/>
                </a:ext>
              </a:extLst>
            </p:cNvPr>
            <p:cNvGrpSpPr/>
            <p:nvPr/>
          </p:nvGrpSpPr>
          <p:grpSpPr>
            <a:xfrm>
              <a:off x="8020128" y="4609038"/>
              <a:ext cx="3496667" cy="1278905"/>
              <a:chOff x="8020128" y="4609038"/>
              <a:chExt cx="3496667" cy="1278905"/>
            </a:xfrm>
          </p:grpSpPr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39C572FD-E393-C478-3CAB-758AF4323745}"/>
                  </a:ext>
                </a:extLst>
              </p:cNvPr>
              <p:cNvSpPr/>
              <p:nvPr/>
            </p:nvSpPr>
            <p:spPr>
              <a:xfrm flipH="1">
                <a:off x="8020128" y="4609038"/>
                <a:ext cx="3496667" cy="1278905"/>
              </a:xfrm>
              <a:custGeom>
                <a:avLst/>
                <a:gdLst>
                  <a:gd name="connsiteX0" fmla="*/ 639536 w 3497122"/>
                  <a:gd name="connsiteY0" fmla="*/ 0 h 1279072"/>
                  <a:gd name="connsiteX1" fmla="*/ 645294 w 3497122"/>
                  <a:gd name="connsiteY1" fmla="*/ 581 h 1279072"/>
                  <a:gd name="connsiteX2" fmla="*/ 645294 w 3497122"/>
                  <a:gd name="connsiteY2" fmla="*/ 1 h 1279072"/>
                  <a:gd name="connsiteX3" fmla="*/ 3497122 w 3497122"/>
                  <a:gd name="connsiteY3" fmla="*/ 1 h 1279072"/>
                  <a:gd name="connsiteX4" fmla="*/ 3497122 w 3497122"/>
                  <a:gd name="connsiteY4" fmla="*/ 1279072 h 1279072"/>
                  <a:gd name="connsiteX5" fmla="*/ 645294 w 3497122"/>
                  <a:gd name="connsiteY5" fmla="*/ 1279072 h 1279072"/>
                  <a:gd name="connsiteX6" fmla="*/ 645294 w 3497122"/>
                  <a:gd name="connsiteY6" fmla="*/ 1278492 h 1279072"/>
                  <a:gd name="connsiteX7" fmla="*/ 639536 w 3497122"/>
                  <a:gd name="connsiteY7" fmla="*/ 1279072 h 1279072"/>
                  <a:gd name="connsiteX8" fmla="*/ 0 w 3497122"/>
                  <a:gd name="connsiteY8" fmla="*/ 639536 h 1279072"/>
                  <a:gd name="connsiteX9" fmla="*/ 639536 w 3497122"/>
                  <a:gd name="connsiteY9" fmla="*/ 0 h 1279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97122" h="1279072">
                    <a:moveTo>
                      <a:pt x="639536" y="0"/>
                    </a:moveTo>
                    <a:lnTo>
                      <a:pt x="645294" y="581"/>
                    </a:lnTo>
                    <a:lnTo>
                      <a:pt x="645294" y="1"/>
                    </a:lnTo>
                    <a:lnTo>
                      <a:pt x="3497122" y="1"/>
                    </a:lnTo>
                    <a:lnTo>
                      <a:pt x="3497122" y="1279072"/>
                    </a:lnTo>
                    <a:lnTo>
                      <a:pt x="645294" y="1279072"/>
                    </a:lnTo>
                    <a:lnTo>
                      <a:pt x="645294" y="1278492"/>
                    </a:lnTo>
                    <a:lnTo>
                      <a:pt x="639536" y="1279072"/>
                    </a:lnTo>
                    <a:cubicBezTo>
                      <a:pt x="286330" y="1279072"/>
                      <a:pt x="0" y="992742"/>
                      <a:pt x="0" y="639536"/>
                    </a:cubicBezTo>
                    <a:cubicBezTo>
                      <a:pt x="0" y="286330"/>
                      <a:pt x="286330" y="0"/>
                      <a:pt x="639536" y="0"/>
                    </a:cubicBezTo>
                    <a:close/>
                  </a:path>
                </a:pathLst>
              </a:custGeom>
              <a:noFill/>
              <a:ln>
                <a:solidFill>
                  <a:srgbClr val="4F81B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algn="ctr"/>
                <a:endParaRPr lang="zh-CN" altLang="en-US" sz="1400" b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60" name="图片 59">
                <a:extLst>
                  <a:ext uri="{FF2B5EF4-FFF2-40B4-BE49-F238E27FC236}">
                    <a16:creationId xmlns:a16="http://schemas.microsoft.com/office/drawing/2014/main" id="{697A1F35-6C05-E738-C847-354ED49230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189817" y="4877193"/>
                <a:ext cx="1137983" cy="763427"/>
              </a:xfrm>
              <a:prstGeom prst="rect">
                <a:avLst/>
              </a:prstGeom>
            </p:spPr>
          </p:pic>
          <p:pic>
            <p:nvPicPr>
              <p:cNvPr id="63" name="图片 62">
                <a:extLst>
                  <a:ext uri="{FF2B5EF4-FFF2-40B4-BE49-F238E27FC236}">
                    <a16:creationId xmlns:a16="http://schemas.microsoft.com/office/drawing/2014/main" id="{60E448C7-BE41-3FCD-5BA6-F1D3CBF9A2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72880" y="4858920"/>
                <a:ext cx="897727" cy="792657"/>
              </a:xfrm>
              <a:prstGeom prst="rect">
                <a:avLst/>
              </a:prstGeom>
            </p:spPr>
          </p:pic>
          <p:pic>
            <p:nvPicPr>
              <p:cNvPr id="67" name="图片 66">
                <a:extLst>
                  <a:ext uri="{FF2B5EF4-FFF2-40B4-BE49-F238E27FC236}">
                    <a16:creationId xmlns:a16="http://schemas.microsoft.com/office/drawing/2014/main" id="{7B01AB7B-E420-C42E-E0C4-9E204C5ACF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439303" y="4770999"/>
                <a:ext cx="827550" cy="968497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709924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1"/>
          <p:cNvSpPr>
            <a:spLocks noChangeArrowheads="1"/>
          </p:cNvSpPr>
          <p:nvPr/>
        </p:nvSpPr>
        <p:spPr bwMode="auto">
          <a:xfrm>
            <a:off x="4799226" y="404858"/>
            <a:ext cx="21666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6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产品结构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D23D1BBF-C647-71D9-1302-FF4B9412AB7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09" r="26596" b="6098"/>
          <a:stretch/>
        </p:blipFill>
        <p:spPr>
          <a:xfrm>
            <a:off x="2386794" y="1412776"/>
            <a:ext cx="7416824" cy="472759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文本框 1"/>
          <p:cNvSpPr>
            <a:spLocks noChangeArrowheads="1"/>
          </p:cNvSpPr>
          <p:nvPr/>
        </p:nvSpPr>
        <p:spPr bwMode="auto">
          <a:xfrm>
            <a:off x="4871070" y="404858"/>
            <a:ext cx="21666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3600" b="1" dirty="0">
                <a:solidFill>
                  <a:srgbClr val="FF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pitchFamily="34" charset="-122"/>
              </a:rPr>
              <a:t>代理品牌</a:t>
            </a:r>
          </a:p>
        </p:txBody>
      </p:sp>
      <p:grpSp>
        <p:nvGrpSpPr>
          <p:cNvPr id="713" name="组合 712">
            <a:extLst>
              <a:ext uri="{FF2B5EF4-FFF2-40B4-BE49-F238E27FC236}">
                <a16:creationId xmlns:a16="http://schemas.microsoft.com/office/drawing/2014/main" id="{4C694BAC-20C9-91C2-0288-833F00AA7EBF}"/>
              </a:ext>
            </a:extLst>
          </p:cNvPr>
          <p:cNvGrpSpPr/>
          <p:nvPr/>
        </p:nvGrpSpPr>
        <p:grpSpPr>
          <a:xfrm>
            <a:off x="334566" y="1407064"/>
            <a:ext cx="11382122" cy="5017536"/>
            <a:chOff x="334566" y="1407064"/>
            <a:chExt cx="11382122" cy="5017536"/>
          </a:xfrm>
        </p:grpSpPr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B0979951-11E7-AFF3-42D9-77247C3D6B66}"/>
                </a:ext>
              </a:extLst>
            </p:cNvPr>
            <p:cNvGrpSpPr/>
            <p:nvPr/>
          </p:nvGrpSpPr>
          <p:grpSpPr>
            <a:xfrm>
              <a:off x="334566" y="2971255"/>
              <a:ext cx="2311276" cy="1894866"/>
              <a:chOff x="956412" y="2626586"/>
              <a:chExt cx="2311577" cy="1895113"/>
            </a:xfrm>
          </p:grpSpPr>
          <p:sp>
            <p:nvSpPr>
              <p:cNvPr id="649" name="文本框 648">
                <a:extLst>
                  <a:ext uri="{FF2B5EF4-FFF2-40B4-BE49-F238E27FC236}">
                    <a16:creationId xmlns:a16="http://schemas.microsoft.com/office/drawing/2014/main" id="{01C0EFD8-384D-68AA-3D81-38E47299E14A}"/>
                  </a:ext>
                </a:extLst>
              </p:cNvPr>
              <p:cNvSpPr txBox="1"/>
              <p:nvPr/>
            </p:nvSpPr>
            <p:spPr>
              <a:xfrm>
                <a:off x="956412" y="2626586"/>
                <a:ext cx="1895112" cy="1895113"/>
              </a:xfrm>
              <a:prstGeom prst="roundRect">
                <a:avLst>
                  <a:gd name="adj" fmla="val 50000"/>
                </a:avLst>
              </a:prstGeom>
              <a:solidFill>
                <a:srgbClr val="1194DD"/>
              </a:solidFill>
              <a:ln w="38100">
                <a:noFill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28" tIns="45714" rIns="91428" bIns="4571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algn="ctr">
                  <a:defRPr/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endParaRPr lang="en-US" altLang="zh-CN" dirty="0"/>
              </a:p>
            </p:txBody>
          </p:sp>
          <p:cxnSp>
            <p:nvCxnSpPr>
              <p:cNvPr id="650" name="直接箭头连接符 649">
                <a:extLst>
                  <a:ext uri="{FF2B5EF4-FFF2-40B4-BE49-F238E27FC236}">
                    <a16:creationId xmlns:a16="http://schemas.microsoft.com/office/drawing/2014/main" id="{C68936BF-5D93-BA0E-4806-D247CF830D3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851523" y="3574143"/>
                <a:ext cx="416466" cy="0"/>
              </a:xfrm>
              <a:prstGeom prst="straightConnector1">
                <a:avLst/>
              </a:prstGeom>
              <a:ln w="12700">
                <a:solidFill>
                  <a:schemeClr val="accent1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51" name="直接箭头连接符 450">
              <a:extLst>
                <a:ext uri="{FF2B5EF4-FFF2-40B4-BE49-F238E27FC236}">
                  <a16:creationId xmlns:a16="http://schemas.microsoft.com/office/drawing/2014/main" id="{30133EA5-8335-0C2D-79B0-A1FC0C4AFB95}"/>
                </a:ext>
              </a:extLst>
            </p:cNvPr>
            <p:cNvCxnSpPr>
              <a:cxnSpLocks/>
            </p:cNvCxnSpPr>
            <p:nvPr/>
          </p:nvCxnSpPr>
          <p:spPr>
            <a:xfrm>
              <a:off x="2645842" y="1736959"/>
              <a:ext cx="0" cy="4382033"/>
            </a:xfrm>
            <a:prstGeom prst="straightConnector1">
              <a:avLst/>
            </a:prstGeom>
            <a:ln w="12700">
              <a:solidFill>
                <a:schemeClr val="accent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4" name="直接箭头连接符 643">
              <a:extLst>
                <a:ext uri="{FF2B5EF4-FFF2-40B4-BE49-F238E27FC236}">
                  <a16:creationId xmlns:a16="http://schemas.microsoft.com/office/drawing/2014/main" id="{D8DBBF8B-3D91-740F-79E3-8014853D864F}"/>
                </a:ext>
              </a:extLst>
            </p:cNvPr>
            <p:cNvCxnSpPr>
              <a:cxnSpLocks/>
              <a:stCxn id="648" idx="3"/>
            </p:cNvCxnSpPr>
            <p:nvPr/>
          </p:nvCxnSpPr>
          <p:spPr>
            <a:xfrm flipH="1">
              <a:off x="2645842" y="4355035"/>
              <a:ext cx="1793177" cy="18575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7" name="直接箭头连接符 646">
              <a:extLst>
                <a:ext uri="{FF2B5EF4-FFF2-40B4-BE49-F238E27FC236}">
                  <a16:creationId xmlns:a16="http://schemas.microsoft.com/office/drawing/2014/main" id="{AC8EEFAB-67CA-AA77-2FB0-3A4C25308232}"/>
                </a:ext>
              </a:extLst>
            </p:cNvPr>
            <p:cNvCxnSpPr>
              <a:cxnSpLocks/>
              <a:endCxn id="648" idx="3"/>
            </p:cNvCxnSpPr>
            <p:nvPr/>
          </p:nvCxnSpPr>
          <p:spPr>
            <a:xfrm flipH="1">
              <a:off x="4439019" y="4355034"/>
              <a:ext cx="1095331" cy="1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8" name="矩形: 圆角 647">
              <a:extLst>
                <a:ext uri="{FF2B5EF4-FFF2-40B4-BE49-F238E27FC236}">
                  <a16:creationId xmlns:a16="http://schemas.microsoft.com/office/drawing/2014/main" id="{EC76BE87-A23C-F33B-83FC-96A2C0D4D490}"/>
                </a:ext>
              </a:extLst>
            </p:cNvPr>
            <p:cNvSpPr/>
            <p:nvPr/>
          </p:nvSpPr>
          <p:spPr>
            <a:xfrm>
              <a:off x="3137127" y="4030851"/>
              <a:ext cx="1301892" cy="648367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6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其它电阻</a:t>
              </a:r>
              <a:endParaRPr lang="en-US" altLang="zh-CN" sz="16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cxnSp>
          <p:nvCxnSpPr>
            <p:cNvPr id="441" name="直接箭头连接符 440">
              <a:extLst>
                <a:ext uri="{FF2B5EF4-FFF2-40B4-BE49-F238E27FC236}">
                  <a16:creationId xmlns:a16="http://schemas.microsoft.com/office/drawing/2014/main" id="{D7531212-2EE8-49D3-C349-2FF2919F138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45842" y="3482343"/>
              <a:ext cx="865748" cy="0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2" name="直接箭头连接符 641">
              <a:extLst>
                <a:ext uri="{FF2B5EF4-FFF2-40B4-BE49-F238E27FC236}">
                  <a16:creationId xmlns:a16="http://schemas.microsoft.com/office/drawing/2014/main" id="{00F62A32-3CA9-3FF7-99B1-93B014A8FBA0}"/>
                </a:ext>
              </a:extLst>
            </p:cNvPr>
            <p:cNvCxnSpPr>
              <a:cxnSpLocks/>
              <a:endCxn id="643" idx="3"/>
            </p:cNvCxnSpPr>
            <p:nvPr/>
          </p:nvCxnSpPr>
          <p:spPr>
            <a:xfrm flipH="1">
              <a:off x="4439019" y="3482343"/>
              <a:ext cx="1095331" cy="1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3" name="矩形: 圆角 642">
              <a:extLst>
                <a:ext uri="{FF2B5EF4-FFF2-40B4-BE49-F238E27FC236}">
                  <a16:creationId xmlns:a16="http://schemas.microsoft.com/office/drawing/2014/main" id="{CDED810B-DE99-2F59-53C3-F21AFEFDF565}"/>
                </a:ext>
              </a:extLst>
            </p:cNvPr>
            <p:cNvSpPr/>
            <p:nvPr/>
          </p:nvSpPr>
          <p:spPr>
            <a:xfrm>
              <a:off x="3137127" y="3158160"/>
              <a:ext cx="1301892" cy="648367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6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引线电容</a:t>
              </a:r>
              <a:endParaRPr lang="en-US" altLang="zh-CN" sz="16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cxnSp>
          <p:nvCxnSpPr>
            <p:cNvPr id="635" name="直接箭头连接符 634">
              <a:extLst>
                <a:ext uri="{FF2B5EF4-FFF2-40B4-BE49-F238E27FC236}">
                  <a16:creationId xmlns:a16="http://schemas.microsoft.com/office/drawing/2014/main" id="{7E417FCE-B9CE-9085-6430-10F992804835}"/>
                </a:ext>
              </a:extLst>
            </p:cNvPr>
            <p:cNvCxnSpPr>
              <a:cxnSpLocks/>
              <a:stCxn id="639" idx="3"/>
            </p:cNvCxnSpPr>
            <p:nvPr/>
          </p:nvCxnSpPr>
          <p:spPr>
            <a:xfrm flipH="1" flipV="1">
              <a:off x="2645842" y="2609651"/>
              <a:ext cx="1793177" cy="1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9" name="矩形: 圆角 638">
              <a:extLst>
                <a:ext uri="{FF2B5EF4-FFF2-40B4-BE49-F238E27FC236}">
                  <a16:creationId xmlns:a16="http://schemas.microsoft.com/office/drawing/2014/main" id="{CA9A8AB2-AD3C-DB73-8306-8342045C30F6}"/>
                </a:ext>
              </a:extLst>
            </p:cNvPr>
            <p:cNvSpPr/>
            <p:nvPr/>
          </p:nvSpPr>
          <p:spPr>
            <a:xfrm>
              <a:off x="3137127" y="2285468"/>
              <a:ext cx="1301892" cy="648367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6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贴片电阻</a:t>
              </a:r>
              <a:endParaRPr lang="en-US" altLang="zh-CN" sz="16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cxnSp>
          <p:nvCxnSpPr>
            <p:cNvPr id="630" name="直接箭头连接符 629">
              <a:extLst>
                <a:ext uri="{FF2B5EF4-FFF2-40B4-BE49-F238E27FC236}">
                  <a16:creationId xmlns:a16="http://schemas.microsoft.com/office/drawing/2014/main" id="{CFD5F671-D05D-F7C1-3FF0-FE126264DC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45842" y="1736960"/>
              <a:ext cx="865748" cy="0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3" name="直接箭头连接符 632">
              <a:extLst>
                <a:ext uri="{FF2B5EF4-FFF2-40B4-BE49-F238E27FC236}">
                  <a16:creationId xmlns:a16="http://schemas.microsoft.com/office/drawing/2014/main" id="{C6A7CA0C-D872-126A-043A-C0DC109DDAF1}"/>
                </a:ext>
              </a:extLst>
            </p:cNvPr>
            <p:cNvCxnSpPr>
              <a:cxnSpLocks/>
              <a:stCxn id="632" idx="1"/>
              <a:endCxn id="634" idx="3"/>
            </p:cNvCxnSpPr>
            <p:nvPr/>
          </p:nvCxnSpPr>
          <p:spPr>
            <a:xfrm flipH="1">
              <a:off x="4439019" y="1731248"/>
              <a:ext cx="1100189" cy="5713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4" name="矩形: 圆角 633">
              <a:extLst>
                <a:ext uri="{FF2B5EF4-FFF2-40B4-BE49-F238E27FC236}">
                  <a16:creationId xmlns:a16="http://schemas.microsoft.com/office/drawing/2014/main" id="{75AD2059-4A37-4117-1370-9FD0D8E70D8C}"/>
                </a:ext>
              </a:extLst>
            </p:cNvPr>
            <p:cNvSpPr/>
            <p:nvPr/>
          </p:nvSpPr>
          <p:spPr>
            <a:xfrm>
              <a:off x="3137127" y="1412777"/>
              <a:ext cx="1301892" cy="648367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6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MLCC</a:t>
              </a:r>
            </a:p>
          </p:txBody>
        </p:sp>
        <p:cxnSp>
          <p:nvCxnSpPr>
            <p:cNvPr id="625" name="直接箭头连接符 624">
              <a:extLst>
                <a:ext uri="{FF2B5EF4-FFF2-40B4-BE49-F238E27FC236}">
                  <a16:creationId xmlns:a16="http://schemas.microsoft.com/office/drawing/2014/main" id="{84878310-43F8-6949-8326-7B8DD3A447A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45842" y="5227725"/>
              <a:ext cx="865748" cy="0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8" name="直接箭头连接符 627">
              <a:extLst>
                <a:ext uri="{FF2B5EF4-FFF2-40B4-BE49-F238E27FC236}">
                  <a16:creationId xmlns:a16="http://schemas.microsoft.com/office/drawing/2014/main" id="{1B1B70F2-8DC7-E79C-8921-B8683EFF7A1A}"/>
                </a:ext>
              </a:extLst>
            </p:cNvPr>
            <p:cNvCxnSpPr>
              <a:cxnSpLocks/>
              <a:endCxn id="629" idx="3"/>
            </p:cNvCxnSpPr>
            <p:nvPr/>
          </p:nvCxnSpPr>
          <p:spPr>
            <a:xfrm flipH="1">
              <a:off x="4439017" y="5227725"/>
              <a:ext cx="1095333" cy="1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9" name="矩形: 圆角 628">
              <a:extLst>
                <a:ext uri="{FF2B5EF4-FFF2-40B4-BE49-F238E27FC236}">
                  <a16:creationId xmlns:a16="http://schemas.microsoft.com/office/drawing/2014/main" id="{C5D63C19-E8A3-D98B-4E2E-1A7EF5D95FEA}"/>
                </a:ext>
              </a:extLst>
            </p:cNvPr>
            <p:cNvSpPr/>
            <p:nvPr/>
          </p:nvSpPr>
          <p:spPr>
            <a:xfrm>
              <a:off x="3137127" y="4903542"/>
              <a:ext cx="1301890" cy="648367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6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电感</a:t>
              </a:r>
              <a:endParaRPr lang="en-US" altLang="zh-CN" sz="16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cxnSp>
          <p:nvCxnSpPr>
            <p:cNvPr id="620" name="直接箭头连接符 619">
              <a:extLst>
                <a:ext uri="{FF2B5EF4-FFF2-40B4-BE49-F238E27FC236}">
                  <a16:creationId xmlns:a16="http://schemas.microsoft.com/office/drawing/2014/main" id="{F8B144B0-64B1-30DE-9FC0-6AA882036ECB}"/>
                </a:ext>
              </a:extLst>
            </p:cNvPr>
            <p:cNvCxnSpPr>
              <a:cxnSpLocks/>
              <a:stCxn id="624" idx="3"/>
            </p:cNvCxnSpPr>
            <p:nvPr/>
          </p:nvCxnSpPr>
          <p:spPr>
            <a:xfrm flipH="1">
              <a:off x="2645842" y="6100417"/>
              <a:ext cx="1793177" cy="18575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3" name="直接箭头连接符 622">
              <a:extLst>
                <a:ext uri="{FF2B5EF4-FFF2-40B4-BE49-F238E27FC236}">
                  <a16:creationId xmlns:a16="http://schemas.microsoft.com/office/drawing/2014/main" id="{69599284-19EE-5A31-95DB-E10102EE1A99}"/>
                </a:ext>
              </a:extLst>
            </p:cNvPr>
            <p:cNvCxnSpPr>
              <a:cxnSpLocks/>
              <a:endCxn id="624" idx="3"/>
            </p:cNvCxnSpPr>
            <p:nvPr/>
          </p:nvCxnSpPr>
          <p:spPr>
            <a:xfrm flipH="1">
              <a:off x="4439019" y="6100416"/>
              <a:ext cx="1095331" cy="1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4" name="矩形: 圆角 623">
              <a:extLst>
                <a:ext uri="{FF2B5EF4-FFF2-40B4-BE49-F238E27FC236}">
                  <a16:creationId xmlns:a16="http://schemas.microsoft.com/office/drawing/2014/main" id="{004E139E-5794-CD6A-C0B8-28538AEC4B77}"/>
                </a:ext>
              </a:extLst>
            </p:cNvPr>
            <p:cNvSpPr/>
            <p:nvPr/>
          </p:nvSpPr>
          <p:spPr>
            <a:xfrm>
              <a:off x="3137127" y="5776233"/>
              <a:ext cx="1301892" cy="648367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508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28" tIns="45714" rIns="91428" bIns="4571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zh-CN" altLang="en-US" sz="16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晶振</a:t>
              </a:r>
              <a:endParaRPr lang="en-US" altLang="zh-CN" sz="16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600" b="1" dirty="0">
                  <a:latin typeface="Arial" panose="020B0604020202020204" pitchFamily="34" charset="0"/>
                  <a:ea typeface="微软雅黑" panose="020B0503020204020204" pitchFamily="34" charset="-122"/>
                </a:rPr>
                <a:t>连接器</a:t>
              </a:r>
              <a:endParaRPr lang="en-US" altLang="zh-CN" sz="1600" b="1" dirty="0"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651" name="文本框 650">
              <a:extLst>
                <a:ext uri="{FF2B5EF4-FFF2-40B4-BE49-F238E27FC236}">
                  <a16:creationId xmlns:a16="http://schemas.microsoft.com/office/drawing/2014/main" id="{76B3D254-1DA7-601F-E975-41E374670D80}"/>
                </a:ext>
              </a:extLst>
            </p:cNvPr>
            <p:cNvSpPr txBox="1"/>
            <p:nvPr/>
          </p:nvSpPr>
          <p:spPr>
            <a:xfrm>
              <a:off x="447275" y="3666365"/>
              <a:ext cx="166944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8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被动器件</a:t>
              </a:r>
            </a:p>
          </p:txBody>
        </p:sp>
        <p:cxnSp>
          <p:nvCxnSpPr>
            <p:cNvPr id="668" name="直接箭头连接符 667">
              <a:extLst>
                <a:ext uri="{FF2B5EF4-FFF2-40B4-BE49-F238E27FC236}">
                  <a16:creationId xmlns:a16="http://schemas.microsoft.com/office/drawing/2014/main" id="{24212D11-796F-3D00-0EB8-15B41308FE8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39017" y="2628227"/>
              <a:ext cx="1095331" cy="1"/>
            </a:xfrm>
            <a:prstGeom prst="straightConnector1">
              <a:avLst/>
            </a:prstGeom>
            <a:ln w="12700">
              <a:solidFill>
                <a:schemeClr val="accent1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80" name="组合 679">
              <a:extLst>
                <a:ext uri="{FF2B5EF4-FFF2-40B4-BE49-F238E27FC236}">
                  <a16:creationId xmlns:a16="http://schemas.microsoft.com/office/drawing/2014/main" id="{C6779D0D-927B-D495-35EF-405D9D365332}"/>
                </a:ext>
              </a:extLst>
            </p:cNvPr>
            <p:cNvGrpSpPr/>
            <p:nvPr/>
          </p:nvGrpSpPr>
          <p:grpSpPr>
            <a:xfrm>
              <a:off x="5539208" y="1407064"/>
              <a:ext cx="6177480" cy="648367"/>
              <a:chOff x="5534350" y="1412776"/>
              <a:chExt cx="6177480" cy="648367"/>
            </a:xfrm>
          </p:grpSpPr>
          <p:sp>
            <p:nvSpPr>
              <p:cNvPr id="632" name="矩形: 圆角 631">
                <a:extLst>
                  <a:ext uri="{FF2B5EF4-FFF2-40B4-BE49-F238E27FC236}">
                    <a16:creationId xmlns:a16="http://schemas.microsoft.com/office/drawing/2014/main" id="{4AE6DB09-A33A-9244-2307-075587C69A40}"/>
                  </a:ext>
                </a:extLst>
              </p:cNvPr>
              <p:cNvSpPr/>
              <p:nvPr/>
            </p:nvSpPr>
            <p:spPr>
              <a:xfrm>
                <a:off x="5534350" y="1412776"/>
                <a:ext cx="6177480" cy="648367"/>
              </a:xfrm>
              <a:prstGeom prst="roundRect">
                <a:avLst>
                  <a:gd name="adj" fmla="val 50000"/>
                </a:avLst>
              </a:prstGeom>
              <a:noFill/>
              <a:ln>
                <a:solidFill>
                  <a:srgbClr val="1194D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30000"/>
                  </a:lnSpc>
                </a:pPr>
                <a:r>
                  <a:rPr kumimoji="1" lang="en-US" altLang="zh-CN" sz="1000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 </a:t>
                </a:r>
              </a:p>
            </p:txBody>
          </p:sp>
          <p:pic>
            <p:nvPicPr>
              <p:cNvPr id="670" name="图片 669">
                <a:extLst>
                  <a:ext uri="{FF2B5EF4-FFF2-40B4-BE49-F238E27FC236}">
                    <a16:creationId xmlns:a16="http://schemas.microsoft.com/office/drawing/2014/main" id="{BB87DE15-33F8-A16F-03A8-866B7F10F8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87954" y="1541698"/>
                <a:ext cx="1181100" cy="390525"/>
              </a:xfrm>
              <a:prstGeom prst="rect">
                <a:avLst/>
              </a:prstGeom>
            </p:spPr>
          </p:pic>
          <p:pic>
            <p:nvPicPr>
              <p:cNvPr id="672" name="图片 671">
                <a:extLst>
                  <a:ext uri="{FF2B5EF4-FFF2-40B4-BE49-F238E27FC236}">
                    <a16:creationId xmlns:a16="http://schemas.microsoft.com/office/drawing/2014/main" id="{68B60C4E-9B2D-BBA1-D989-AD376C4676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623089" y="1536934"/>
                <a:ext cx="1266825" cy="400050"/>
              </a:xfrm>
              <a:prstGeom prst="rect">
                <a:avLst/>
              </a:prstGeom>
            </p:spPr>
          </p:pic>
          <p:pic>
            <p:nvPicPr>
              <p:cNvPr id="674" name="图片 673">
                <a:extLst>
                  <a:ext uri="{FF2B5EF4-FFF2-40B4-BE49-F238E27FC236}">
                    <a16:creationId xmlns:a16="http://schemas.microsoft.com/office/drawing/2014/main" id="{11745E15-A8B1-F4B4-E752-9C11F92090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14991" y="1484931"/>
                <a:ext cx="1104900" cy="504055"/>
              </a:xfrm>
              <a:prstGeom prst="rect">
                <a:avLst/>
              </a:prstGeom>
            </p:spPr>
          </p:pic>
          <p:pic>
            <p:nvPicPr>
              <p:cNvPr id="676" name="图片 675">
                <a:extLst>
                  <a:ext uri="{FF2B5EF4-FFF2-40B4-BE49-F238E27FC236}">
                    <a16:creationId xmlns:a16="http://schemas.microsoft.com/office/drawing/2014/main" id="{572FB902-07E1-5881-4940-D1CA226D09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325456" y="1536936"/>
                <a:ext cx="1108361" cy="400050"/>
              </a:xfrm>
              <a:prstGeom prst="rect">
                <a:avLst/>
              </a:prstGeom>
            </p:spPr>
          </p:pic>
        </p:grpSp>
        <p:grpSp>
          <p:nvGrpSpPr>
            <p:cNvPr id="681" name="组合 680">
              <a:extLst>
                <a:ext uri="{FF2B5EF4-FFF2-40B4-BE49-F238E27FC236}">
                  <a16:creationId xmlns:a16="http://schemas.microsoft.com/office/drawing/2014/main" id="{E7EF89FE-BF83-1BB6-D4A6-88BE72605084}"/>
                </a:ext>
              </a:extLst>
            </p:cNvPr>
            <p:cNvGrpSpPr/>
            <p:nvPr/>
          </p:nvGrpSpPr>
          <p:grpSpPr>
            <a:xfrm>
              <a:off x="5539208" y="2285996"/>
              <a:ext cx="6177480" cy="648367"/>
              <a:chOff x="5534350" y="1412776"/>
              <a:chExt cx="6177480" cy="648367"/>
            </a:xfrm>
          </p:grpSpPr>
          <p:sp>
            <p:nvSpPr>
              <p:cNvPr id="682" name="矩形: 圆角 681">
                <a:extLst>
                  <a:ext uri="{FF2B5EF4-FFF2-40B4-BE49-F238E27FC236}">
                    <a16:creationId xmlns:a16="http://schemas.microsoft.com/office/drawing/2014/main" id="{D957407D-345C-21AB-77E5-3000EF580717}"/>
                  </a:ext>
                </a:extLst>
              </p:cNvPr>
              <p:cNvSpPr/>
              <p:nvPr/>
            </p:nvSpPr>
            <p:spPr>
              <a:xfrm>
                <a:off x="5534350" y="1412776"/>
                <a:ext cx="6177480" cy="648367"/>
              </a:xfrm>
              <a:prstGeom prst="roundRect">
                <a:avLst>
                  <a:gd name="adj" fmla="val 50000"/>
                </a:avLst>
              </a:prstGeom>
              <a:noFill/>
              <a:ln>
                <a:solidFill>
                  <a:srgbClr val="1194D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30000"/>
                  </a:lnSpc>
                </a:pPr>
                <a:r>
                  <a:rPr kumimoji="1" lang="en-US" altLang="zh-CN" sz="1000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 </a:t>
                </a:r>
              </a:p>
            </p:txBody>
          </p:sp>
          <p:pic>
            <p:nvPicPr>
              <p:cNvPr id="683" name="图片 682">
                <a:extLst>
                  <a:ext uri="{FF2B5EF4-FFF2-40B4-BE49-F238E27FC236}">
                    <a16:creationId xmlns:a16="http://schemas.microsoft.com/office/drawing/2014/main" id="{03351E1E-F1A5-FCB9-9D05-CD063FD797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87954" y="1541698"/>
                <a:ext cx="1181100" cy="390525"/>
              </a:xfrm>
              <a:prstGeom prst="rect">
                <a:avLst/>
              </a:prstGeom>
            </p:spPr>
          </p:pic>
          <p:pic>
            <p:nvPicPr>
              <p:cNvPr id="684" name="图片 683">
                <a:extLst>
                  <a:ext uri="{FF2B5EF4-FFF2-40B4-BE49-F238E27FC236}">
                    <a16:creationId xmlns:a16="http://schemas.microsoft.com/office/drawing/2014/main" id="{2163AF37-AF25-A418-1C07-78B55E560A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653957" y="1536934"/>
                <a:ext cx="1205088" cy="400050"/>
              </a:xfrm>
              <a:prstGeom prst="rect">
                <a:avLst/>
              </a:prstGeom>
            </p:spPr>
          </p:pic>
          <p:pic>
            <p:nvPicPr>
              <p:cNvPr id="685" name="图片 684">
                <a:extLst>
                  <a:ext uri="{FF2B5EF4-FFF2-40B4-BE49-F238E27FC236}">
                    <a16:creationId xmlns:a16="http://schemas.microsoft.com/office/drawing/2014/main" id="{ACFBC34D-B2EF-EBD6-4826-C78532F340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14991" y="1484931"/>
                <a:ext cx="1104900" cy="504055"/>
              </a:xfrm>
              <a:prstGeom prst="rect">
                <a:avLst/>
              </a:prstGeom>
            </p:spPr>
          </p:pic>
          <p:pic>
            <p:nvPicPr>
              <p:cNvPr id="686" name="图片 685">
                <a:extLst>
                  <a:ext uri="{FF2B5EF4-FFF2-40B4-BE49-F238E27FC236}">
                    <a16:creationId xmlns:a16="http://schemas.microsoft.com/office/drawing/2014/main" id="{62FDFE27-D0B3-39C3-8257-F65CAEB80A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0325456" y="1541698"/>
                <a:ext cx="1108361" cy="395286"/>
              </a:xfrm>
              <a:prstGeom prst="rect">
                <a:avLst/>
              </a:prstGeom>
            </p:spPr>
          </p:pic>
        </p:grpSp>
        <p:grpSp>
          <p:nvGrpSpPr>
            <p:cNvPr id="687" name="组合 686">
              <a:extLst>
                <a:ext uri="{FF2B5EF4-FFF2-40B4-BE49-F238E27FC236}">
                  <a16:creationId xmlns:a16="http://schemas.microsoft.com/office/drawing/2014/main" id="{E5058770-8E14-95EB-743B-F51E6C5746CD}"/>
                </a:ext>
              </a:extLst>
            </p:cNvPr>
            <p:cNvGrpSpPr/>
            <p:nvPr/>
          </p:nvGrpSpPr>
          <p:grpSpPr>
            <a:xfrm>
              <a:off x="5534348" y="3158687"/>
              <a:ext cx="6177480" cy="648367"/>
              <a:chOff x="5534350" y="1412776"/>
              <a:chExt cx="6177480" cy="648367"/>
            </a:xfrm>
          </p:grpSpPr>
          <p:sp>
            <p:nvSpPr>
              <p:cNvPr id="688" name="矩形: 圆角 687">
                <a:extLst>
                  <a:ext uri="{FF2B5EF4-FFF2-40B4-BE49-F238E27FC236}">
                    <a16:creationId xmlns:a16="http://schemas.microsoft.com/office/drawing/2014/main" id="{029F4B60-8AEA-118F-DC15-083ABEEAB18B}"/>
                  </a:ext>
                </a:extLst>
              </p:cNvPr>
              <p:cNvSpPr/>
              <p:nvPr/>
            </p:nvSpPr>
            <p:spPr>
              <a:xfrm>
                <a:off x="5534350" y="1412776"/>
                <a:ext cx="6177480" cy="648367"/>
              </a:xfrm>
              <a:prstGeom prst="roundRect">
                <a:avLst>
                  <a:gd name="adj" fmla="val 50000"/>
                </a:avLst>
              </a:prstGeom>
              <a:noFill/>
              <a:ln>
                <a:solidFill>
                  <a:srgbClr val="1194D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30000"/>
                  </a:lnSpc>
                </a:pPr>
                <a:r>
                  <a:rPr kumimoji="1" lang="en-US" altLang="zh-CN" sz="1000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 </a:t>
                </a:r>
              </a:p>
            </p:txBody>
          </p:sp>
          <p:pic>
            <p:nvPicPr>
              <p:cNvPr id="689" name="图片 688">
                <a:extLst>
                  <a:ext uri="{FF2B5EF4-FFF2-40B4-BE49-F238E27FC236}">
                    <a16:creationId xmlns:a16="http://schemas.microsoft.com/office/drawing/2014/main" id="{37123E56-C1C1-5EAC-468C-7D334C7F1A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787954" y="1495414"/>
                <a:ext cx="1181100" cy="447288"/>
              </a:xfrm>
              <a:prstGeom prst="rect">
                <a:avLst/>
              </a:prstGeom>
            </p:spPr>
          </p:pic>
          <p:pic>
            <p:nvPicPr>
              <p:cNvPr id="690" name="图片 689">
                <a:extLst>
                  <a:ext uri="{FF2B5EF4-FFF2-40B4-BE49-F238E27FC236}">
                    <a16:creationId xmlns:a16="http://schemas.microsoft.com/office/drawing/2014/main" id="{7ABED8D2-EFC8-8EFA-7656-DA6C02CCFC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896200" y="1498515"/>
                <a:ext cx="888483" cy="437390"/>
              </a:xfrm>
              <a:prstGeom prst="rect">
                <a:avLst/>
              </a:prstGeom>
            </p:spPr>
          </p:pic>
          <p:pic>
            <p:nvPicPr>
              <p:cNvPr id="691" name="图片 690">
                <a:extLst>
                  <a:ext uri="{FF2B5EF4-FFF2-40B4-BE49-F238E27FC236}">
                    <a16:creationId xmlns:a16="http://schemas.microsoft.com/office/drawing/2014/main" id="{C5F84957-12B7-7059-DADF-3BA33AB31D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319851" y="1528590"/>
                <a:ext cx="1104900" cy="416736"/>
              </a:xfrm>
              <a:prstGeom prst="rect">
                <a:avLst/>
              </a:prstGeom>
            </p:spPr>
          </p:pic>
          <p:pic>
            <p:nvPicPr>
              <p:cNvPr id="692" name="图片 691">
                <a:extLst>
                  <a:ext uri="{FF2B5EF4-FFF2-40B4-BE49-F238E27FC236}">
                    <a16:creationId xmlns:a16="http://schemas.microsoft.com/office/drawing/2014/main" id="{113975B5-AF5E-F7FA-4735-F0875C2220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0441562" y="1519567"/>
                <a:ext cx="876148" cy="395286"/>
              </a:xfrm>
              <a:prstGeom prst="rect">
                <a:avLst/>
              </a:prstGeom>
            </p:spPr>
          </p:pic>
        </p:grpSp>
        <p:grpSp>
          <p:nvGrpSpPr>
            <p:cNvPr id="693" name="组合 692">
              <a:extLst>
                <a:ext uri="{FF2B5EF4-FFF2-40B4-BE49-F238E27FC236}">
                  <a16:creationId xmlns:a16="http://schemas.microsoft.com/office/drawing/2014/main" id="{48B5EDA3-3C0A-7AFE-516E-C05C494096B3}"/>
                </a:ext>
              </a:extLst>
            </p:cNvPr>
            <p:cNvGrpSpPr/>
            <p:nvPr/>
          </p:nvGrpSpPr>
          <p:grpSpPr>
            <a:xfrm>
              <a:off x="5539208" y="4030850"/>
              <a:ext cx="6177480" cy="648367"/>
              <a:chOff x="5534350" y="1412776"/>
              <a:chExt cx="6177480" cy="648367"/>
            </a:xfrm>
          </p:grpSpPr>
          <p:sp>
            <p:nvSpPr>
              <p:cNvPr id="694" name="矩形: 圆角 693">
                <a:extLst>
                  <a:ext uri="{FF2B5EF4-FFF2-40B4-BE49-F238E27FC236}">
                    <a16:creationId xmlns:a16="http://schemas.microsoft.com/office/drawing/2014/main" id="{24EC59DB-A77B-BC5F-52E2-A80729EEC95F}"/>
                  </a:ext>
                </a:extLst>
              </p:cNvPr>
              <p:cNvSpPr/>
              <p:nvPr/>
            </p:nvSpPr>
            <p:spPr>
              <a:xfrm>
                <a:off x="5534350" y="1412776"/>
                <a:ext cx="6177480" cy="648367"/>
              </a:xfrm>
              <a:prstGeom prst="roundRect">
                <a:avLst>
                  <a:gd name="adj" fmla="val 50000"/>
                </a:avLst>
              </a:prstGeom>
              <a:noFill/>
              <a:ln>
                <a:solidFill>
                  <a:srgbClr val="1194D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30000"/>
                  </a:lnSpc>
                </a:pPr>
                <a:r>
                  <a:rPr kumimoji="1" lang="en-US" altLang="zh-CN" sz="1000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 </a:t>
                </a:r>
              </a:p>
            </p:txBody>
          </p:sp>
          <p:pic>
            <p:nvPicPr>
              <p:cNvPr id="695" name="图片 694">
                <a:extLst>
                  <a:ext uri="{FF2B5EF4-FFF2-40B4-BE49-F238E27FC236}">
                    <a16:creationId xmlns:a16="http://schemas.microsoft.com/office/drawing/2014/main" id="{CAFB0885-41CB-5820-519A-A27B26085C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001216" y="1510754"/>
                <a:ext cx="782830" cy="460396"/>
              </a:xfrm>
              <a:prstGeom prst="rect">
                <a:avLst/>
              </a:prstGeom>
            </p:spPr>
          </p:pic>
          <p:pic>
            <p:nvPicPr>
              <p:cNvPr id="696" name="图片 695">
                <a:extLst>
                  <a:ext uri="{FF2B5EF4-FFF2-40B4-BE49-F238E27FC236}">
                    <a16:creationId xmlns:a16="http://schemas.microsoft.com/office/drawing/2014/main" id="{37F6C9B0-9254-82B6-6966-981CF9D4713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891340" y="1536934"/>
                <a:ext cx="786071" cy="400050"/>
              </a:xfrm>
              <a:prstGeom prst="rect">
                <a:avLst/>
              </a:prstGeom>
            </p:spPr>
          </p:pic>
          <p:pic>
            <p:nvPicPr>
              <p:cNvPr id="697" name="图片 696">
                <a:extLst>
                  <a:ext uri="{FF2B5EF4-FFF2-40B4-BE49-F238E27FC236}">
                    <a16:creationId xmlns:a16="http://schemas.microsoft.com/office/drawing/2014/main" id="{C7216BCB-C158-C484-C7E5-5139E0DA14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292082" y="1522230"/>
                <a:ext cx="1104900" cy="460396"/>
              </a:xfrm>
              <a:prstGeom prst="rect">
                <a:avLst/>
              </a:prstGeom>
            </p:spPr>
          </p:pic>
          <p:pic>
            <p:nvPicPr>
              <p:cNvPr id="698" name="图片 697">
                <a:extLst>
                  <a:ext uri="{FF2B5EF4-FFF2-40B4-BE49-F238E27FC236}">
                    <a16:creationId xmlns:a16="http://schemas.microsoft.com/office/drawing/2014/main" id="{2F3599D2-03C2-05D5-EA70-7301116FB16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3326"/>
              <a:stretch/>
            </p:blipFill>
            <p:spPr>
              <a:xfrm>
                <a:off x="10317128" y="1556927"/>
                <a:ext cx="1050898" cy="380057"/>
              </a:xfrm>
              <a:prstGeom prst="rect">
                <a:avLst/>
              </a:prstGeom>
            </p:spPr>
          </p:pic>
        </p:grpSp>
        <p:grpSp>
          <p:nvGrpSpPr>
            <p:cNvPr id="706" name="组合 705">
              <a:extLst>
                <a:ext uri="{FF2B5EF4-FFF2-40B4-BE49-F238E27FC236}">
                  <a16:creationId xmlns:a16="http://schemas.microsoft.com/office/drawing/2014/main" id="{B1FCB641-D419-B9BF-204F-5FE0AFDAFB2E}"/>
                </a:ext>
              </a:extLst>
            </p:cNvPr>
            <p:cNvGrpSpPr/>
            <p:nvPr/>
          </p:nvGrpSpPr>
          <p:grpSpPr>
            <a:xfrm>
              <a:off x="5534350" y="4909834"/>
              <a:ext cx="6177480" cy="648367"/>
              <a:chOff x="5534350" y="4909834"/>
              <a:chExt cx="6177480" cy="648367"/>
            </a:xfrm>
          </p:grpSpPr>
          <p:sp>
            <p:nvSpPr>
              <p:cNvPr id="700" name="矩形: 圆角 699">
                <a:extLst>
                  <a:ext uri="{FF2B5EF4-FFF2-40B4-BE49-F238E27FC236}">
                    <a16:creationId xmlns:a16="http://schemas.microsoft.com/office/drawing/2014/main" id="{19E3B10D-20D5-3F5A-683C-72D18437C24D}"/>
                  </a:ext>
                </a:extLst>
              </p:cNvPr>
              <p:cNvSpPr/>
              <p:nvPr/>
            </p:nvSpPr>
            <p:spPr>
              <a:xfrm>
                <a:off x="5534350" y="4909834"/>
                <a:ext cx="6177480" cy="648367"/>
              </a:xfrm>
              <a:prstGeom prst="roundRect">
                <a:avLst>
                  <a:gd name="adj" fmla="val 50000"/>
                </a:avLst>
              </a:prstGeom>
              <a:noFill/>
              <a:ln>
                <a:solidFill>
                  <a:srgbClr val="1194D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30000"/>
                  </a:lnSpc>
                </a:pPr>
                <a:r>
                  <a:rPr kumimoji="1" lang="en-US" altLang="zh-CN" sz="1000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 </a:t>
                </a:r>
              </a:p>
            </p:txBody>
          </p:sp>
          <p:pic>
            <p:nvPicPr>
              <p:cNvPr id="701" name="图片 700">
                <a:extLst>
                  <a:ext uri="{FF2B5EF4-FFF2-40B4-BE49-F238E27FC236}">
                    <a16:creationId xmlns:a16="http://schemas.microsoft.com/office/drawing/2014/main" id="{8CAA7022-EBF7-1977-379D-C0E3007C50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836540" y="5007812"/>
                <a:ext cx="1104899" cy="460396"/>
              </a:xfrm>
              <a:prstGeom prst="rect">
                <a:avLst/>
              </a:prstGeom>
            </p:spPr>
          </p:pic>
          <p:pic>
            <p:nvPicPr>
              <p:cNvPr id="702" name="图片 701">
                <a:extLst>
                  <a:ext uri="{FF2B5EF4-FFF2-40B4-BE49-F238E27FC236}">
                    <a16:creationId xmlns:a16="http://schemas.microsoft.com/office/drawing/2014/main" id="{A7B4320F-9239-C9FE-1A13-FB9E3E7476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882540" y="5024706"/>
                <a:ext cx="1003432" cy="426230"/>
              </a:xfrm>
              <a:prstGeom prst="rect">
                <a:avLst/>
              </a:prstGeom>
            </p:spPr>
          </p:pic>
          <p:pic>
            <p:nvPicPr>
              <p:cNvPr id="703" name="图片 702">
                <a:extLst>
                  <a:ext uri="{FF2B5EF4-FFF2-40B4-BE49-F238E27FC236}">
                    <a16:creationId xmlns:a16="http://schemas.microsoft.com/office/drawing/2014/main" id="{DEE9D326-4AE2-21ED-439D-AE96BDEF38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243629" y="5007812"/>
                <a:ext cx="1181120" cy="460396"/>
              </a:xfrm>
              <a:prstGeom prst="rect">
                <a:avLst/>
              </a:prstGeom>
            </p:spPr>
          </p:pic>
          <p:pic>
            <p:nvPicPr>
              <p:cNvPr id="705" name="图片 704">
                <a:extLst>
                  <a:ext uri="{FF2B5EF4-FFF2-40B4-BE49-F238E27FC236}">
                    <a16:creationId xmlns:a16="http://schemas.microsoft.com/office/drawing/2014/main" id="{3D475495-3214-975F-5495-E4FDDE71B2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0415686" y="5069525"/>
                <a:ext cx="1104899" cy="336969"/>
              </a:xfrm>
              <a:prstGeom prst="rect">
                <a:avLst/>
              </a:prstGeom>
            </p:spPr>
          </p:pic>
        </p:grpSp>
        <p:grpSp>
          <p:nvGrpSpPr>
            <p:cNvPr id="707" name="组合 706">
              <a:extLst>
                <a:ext uri="{FF2B5EF4-FFF2-40B4-BE49-F238E27FC236}">
                  <a16:creationId xmlns:a16="http://schemas.microsoft.com/office/drawing/2014/main" id="{06D1BD54-E418-6D7F-0D8D-771011FA8D20}"/>
                </a:ext>
              </a:extLst>
            </p:cNvPr>
            <p:cNvGrpSpPr/>
            <p:nvPr/>
          </p:nvGrpSpPr>
          <p:grpSpPr>
            <a:xfrm>
              <a:off x="5539208" y="5775704"/>
              <a:ext cx="6177480" cy="648367"/>
              <a:chOff x="5534350" y="4909834"/>
              <a:chExt cx="6177480" cy="648367"/>
            </a:xfrm>
          </p:grpSpPr>
          <p:sp>
            <p:nvSpPr>
              <p:cNvPr id="708" name="矩形: 圆角 707">
                <a:extLst>
                  <a:ext uri="{FF2B5EF4-FFF2-40B4-BE49-F238E27FC236}">
                    <a16:creationId xmlns:a16="http://schemas.microsoft.com/office/drawing/2014/main" id="{0C0B8600-FEF9-7BBB-BC17-8C00A00F76EE}"/>
                  </a:ext>
                </a:extLst>
              </p:cNvPr>
              <p:cNvSpPr/>
              <p:nvPr/>
            </p:nvSpPr>
            <p:spPr>
              <a:xfrm>
                <a:off x="5534350" y="4909834"/>
                <a:ext cx="6177480" cy="648367"/>
              </a:xfrm>
              <a:prstGeom prst="roundRect">
                <a:avLst>
                  <a:gd name="adj" fmla="val 50000"/>
                </a:avLst>
              </a:prstGeom>
              <a:noFill/>
              <a:ln>
                <a:solidFill>
                  <a:srgbClr val="1194D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30000"/>
                  </a:lnSpc>
                </a:pPr>
                <a:r>
                  <a:rPr kumimoji="1" lang="en-US" altLang="zh-CN" sz="1000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rPr>
                  <a:t> </a:t>
                </a:r>
              </a:p>
            </p:txBody>
          </p:sp>
          <p:pic>
            <p:nvPicPr>
              <p:cNvPr id="709" name="图片 708">
                <a:extLst>
                  <a:ext uri="{FF2B5EF4-FFF2-40B4-BE49-F238E27FC236}">
                    <a16:creationId xmlns:a16="http://schemas.microsoft.com/office/drawing/2014/main" id="{CEB67C82-6F71-641F-9A60-67B97BA70D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836540" y="4985976"/>
                <a:ext cx="1104899" cy="464960"/>
              </a:xfrm>
              <a:prstGeom prst="rect">
                <a:avLst/>
              </a:prstGeom>
            </p:spPr>
          </p:pic>
          <p:pic>
            <p:nvPicPr>
              <p:cNvPr id="710" name="图片 709">
                <a:extLst>
                  <a:ext uri="{FF2B5EF4-FFF2-40B4-BE49-F238E27FC236}">
                    <a16:creationId xmlns:a16="http://schemas.microsoft.com/office/drawing/2014/main" id="{A4C14812-454D-EFB3-2EFA-2058AF2D6D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934257" y="5043311"/>
                <a:ext cx="1003432" cy="381411"/>
              </a:xfrm>
              <a:prstGeom prst="rect">
                <a:avLst/>
              </a:prstGeom>
            </p:spPr>
          </p:pic>
          <p:pic>
            <p:nvPicPr>
              <p:cNvPr id="711" name="图片 710">
                <a:extLst>
                  <a:ext uri="{FF2B5EF4-FFF2-40B4-BE49-F238E27FC236}">
                    <a16:creationId xmlns:a16="http://schemas.microsoft.com/office/drawing/2014/main" id="{A8891E0C-6B25-284A-6A21-8937490464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243629" y="5069525"/>
                <a:ext cx="1181120" cy="381411"/>
              </a:xfrm>
              <a:prstGeom prst="rect">
                <a:avLst/>
              </a:prstGeom>
            </p:spPr>
          </p:pic>
          <p:pic>
            <p:nvPicPr>
              <p:cNvPr id="712" name="图片 711">
                <a:extLst>
                  <a:ext uri="{FF2B5EF4-FFF2-40B4-BE49-F238E27FC236}">
                    <a16:creationId xmlns:a16="http://schemas.microsoft.com/office/drawing/2014/main" id="{543A50CC-EF53-EAF6-9627-C7CD9CE964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10410827" y="5086519"/>
                <a:ext cx="1104899" cy="31463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117254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>
        <p14:prism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50"/>
                            </p:stCondLst>
                            <p:childTnLst>
                              <p:par>
                                <p:cTn id="1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</p:bldLst>
  </p:timing>
</p:sld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font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chemeClr val="accent6">
                <a:lumMod val="40000"/>
                <a:lumOff val="60000"/>
              </a:schemeClr>
            </a:gs>
            <a:gs pos="46000">
              <a:schemeClr val="accent6">
                <a:lumMod val="95000"/>
                <a:lumOff val="5000"/>
              </a:schemeClr>
            </a:gs>
            <a:gs pos="100000">
              <a:schemeClr val="accent6">
                <a:lumMod val="60000"/>
              </a:schemeClr>
            </a:gs>
          </a:gsLst>
          <a:path path="shape">
            <a:fillToRect l="50000" t="50000" r="50000" b="50000"/>
          </a:path>
          <a:tileRect/>
        </a:gradFill>
        <a:ln>
          <a:noFill/>
        </a:ln>
      </a:spPr>
      <a:bodyPr rtlCol="0" anchor="ctr"/>
      <a:lstStyle>
        <a:defPPr algn="ctr">
          <a:defRPr sz="2400" dirty="0">
            <a:solidFill>
              <a:schemeClr val="bg1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Pages>30</Pages>
  <Words>515</Words>
  <Application>Microsoft Office PowerPoint</Application>
  <PresentationFormat>自定义</PresentationFormat>
  <Paragraphs>138</Paragraphs>
  <Slides>20</Slides>
  <Notes>19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26" baseType="lpstr">
      <vt:lpstr>黑体</vt:lpstr>
      <vt:lpstr>微软雅黑</vt:lpstr>
      <vt:lpstr>Arial</vt:lpstr>
      <vt:lpstr>Calibri</vt:lpstr>
      <vt:lpstr>Office 主题​​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新</dc:title>
  <dc:creator/>
  <cp:lastModifiedBy/>
  <cp:revision>14</cp:revision>
  <dcterms:created xsi:type="dcterms:W3CDTF">2021-01-21T00:37:00Z</dcterms:created>
  <dcterms:modified xsi:type="dcterms:W3CDTF">2024-02-04T02:14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1294</vt:lpwstr>
  </property>
  <property fmtid="{D5CDD505-2E9C-101B-9397-08002B2CF9AE}" pid="3" name="ICV">
    <vt:lpwstr>DB0EA8608CB24E5A9E19A82A9E09DFAA</vt:lpwstr>
  </property>
</Properties>
</file>